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1"/>
  </p:sldMasterIdLst>
  <p:notesMasterIdLst>
    <p:notesMasterId r:id="rId26"/>
  </p:notesMasterIdLst>
  <p:handoutMasterIdLst>
    <p:handoutMasterId r:id="rId27"/>
  </p:handoutMasterIdLst>
  <p:sldIdLst>
    <p:sldId id="2588" r:id="rId12"/>
    <p:sldId id="2576" r:id="rId13"/>
    <p:sldId id="2415" r:id="rId14"/>
    <p:sldId id="2571" r:id="rId15"/>
    <p:sldId id="2422" r:id="rId16"/>
    <p:sldId id="2423" r:id="rId17"/>
    <p:sldId id="2424" r:id="rId18"/>
    <p:sldId id="2416" r:id="rId19"/>
    <p:sldId id="2417" r:id="rId20"/>
    <p:sldId id="2578" r:id="rId21"/>
    <p:sldId id="2434" r:id="rId22"/>
    <p:sldId id="2435" r:id="rId23"/>
    <p:sldId id="2437" r:id="rId24"/>
    <p:sldId id="879" r:id="rId25"/>
  </p:sldIdLst>
  <p:sldSz cx="12195175" cy="6858000"/>
  <p:notesSz cx="6797675" cy="9926638"/>
  <p:custDataLst>
    <p:custData r:id="rId3"/>
    <p:custData r:id="rId4"/>
    <p:custData r:id="rId5"/>
    <p:custData r:id="rId6"/>
    <p:custData r:id="rId7"/>
    <p:custData r:id="rId8"/>
    <p:custData r:id="rId9"/>
    <p:custData r:id="rId10"/>
    <p:tags r:id="rId28"/>
  </p:custDataLst>
  <p:defaultTextStyle>
    <a:defPPr>
      <a:defRPr lang="de-DE"/>
    </a:defPPr>
    <a:lvl1pPr algn="ctr" rtl="0" fontAlgn="base">
      <a:spcBef>
        <a:spcPct val="50000"/>
      </a:spcBef>
      <a:spcAft>
        <a:spcPct val="0"/>
      </a:spcAft>
      <a:defRPr kern="14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ctr" rtl="0" fontAlgn="base">
      <a:spcBef>
        <a:spcPct val="50000"/>
      </a:spcBef>
      <a:spcAft>
        <a:spcPct val="0"/>
      </a:spcAft>
      <a:defRPr kern="14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ctr" rtl="0" fontAlgn="base">
      <a:spcBef>
        <a:spcPct val="50000"/>
      </a:spcBef>
      <a:spcAft>
        <a:spcPct val="0"/>
      </a:spcAft>
      <a:defRPr kern="14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ctr" rtl="0" fontAlgn="base">
      <a:spcBef>
        <a:spcPct val="50000"/>
      </a:spcBef>
      <a:spcAft>
        <a:spcPct val="0"/>
      </a:spcAft>
      <a:defRPr kern="14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ctr" rtl="0" fontAlgn="base">
      <a:spcBef>
        <a:spcPct val="50000"/>
      </a:spcBef>
      <a:spcAft>
        <a:spcPct val="0"/>
      </a:spcAft>
      <a:defRPr kern="14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ctr" defTabSz="914400" rtl="0" eaLnBrk="1" latinLnBrk="0" hangingPunct="1">
      <a:defRPr kern="14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ctr" defTabSz="914400" rtl="0" eaLnBrk="1" latinLnBrk="0" hangingPunct="1">
      <a:defRPr kern="14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ctr" defTabSz="914400" rtl="0" eaLnBrk="1" latinLnBrk="0" hangingPunct="1">
      <a:defRPr kern="14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ctr" defTabSz="914400" rtl="0" eaLnBrk="1" latinLnBrk="0" hangingPunct="1">
      <a:defRPr kern="14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65" userDrawn="1">
          <p15:clr>
            <a:srgbClr val="A4A3A4"/>
          </p15:clr>
        </p15:guide>
        <p15:guide id="10" pos="10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üller, Kurt (SI BP S&amp;C CS&amp;TR TR TD)" initials="MK(BSCTT" lastIdx="4" clrIdx="0">
    <p:extLst>
      <p:ext uri="{19B8F6BF-5375-455C-9EA6-DF929625EA0E}">
        <p15:presenceInfo xmlns:p15="http://schemas.microsoft.com/office/powerpoint/2012/main" userId="S::kurtmueller@siemens.com::e7e82c7e-80c6-42a5-ab71-24588885b7f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B6"/>
    <a:srgbClr val="4A6274"/>
    <a:srgbClr val="496173"/>
    <a:srgbClr val="0000CA"/>
    <a:srgbClr val="CED8E0"/>
    <a:srgbClr val="005283"/>
    <a:srgbClr val="90EEF8"/>
    <a:srgbClr val="F6FDB1"/>
    <a:srgbClr val="E3EDCD"/>
    <a:srgbClr val="CD01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2922574-84EA-4E7E-906C-F3FE7F6D5E22}" v="1" dt="2021-11-26T10:36:02.8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1" d="100"/>
          <a:sy n="71" d="100"/>
        </p:scale>
        <p:origin x="322" y="72"/>
      </p:cViewPr>
      <p:guideLst>
        <p:guide orient="horz" pos="4065"/>
        <p:guide pos="109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microsoft.com/office/2016/11/relationships/changesInfo" Target="changesInfos/changesInfo1.xml"/><Relationship Id="rId7" Type="http://schemas.openxmlformats.org/officeDocument/2006/relationships/customXml" Target="../customXml/item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1.xml"/><Relationship Id="rId24" Type="http://schemas.openxmlformats.org/officeDocument/2006/relationships/slide" Target="slides/slide13.xml"/><Relationship Id="rId32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tags" Target="tags/tag1.xml"/><Relationship Id="rId10" Type="http://schemas.openxmlformats.org/officeDocument/2006/relationships/customXml" Target="../customXml/item10.xml"/><Relationship Id="rId19" Type="http://schemas.openxmlformats.org/officeDocument/2006/relationships/slide" Target="slides/slide8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35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o, Tianyun (SI BP FDO CON PROD)" userId="25b3c3cc-5a46-4d03-a516-a1293833cff3" providerId="ADAL" clId="{D28EE0E3-3F55-4F2A-8875-B92F1E1CCF13}"/>
    <pc:docChg chg="undo custSel addSld modSld sldOrd">
      <pc:chgData name="Gao, Tianyun (SI BP FDO CON PROD)" userId="25b3c3cc-5a46-4d03-a516-a1293833cff3" providerId="ADAL" clId="{D28EE0E3-3F55-4F2A-8875-B92F1E1CCF13}" dt="2021-04-01T09:11:56.557" v="1266" actId="20578"/>
      <pc:docMkLst>
        <pc:docMk/>
      </pc:docMkLst>
      <pc:sldChg chg="ord">
        <pc:chgData name="Gao, Tianyun (SI BP FDO CON PROD)" userId="25b3c3cc-5a46-4d03-a516-a1293833cff3" providerId="ADAL" clId="{D28EE0E3-3F55-4F2A-8875-B92F1E1CCF13}" dt="2021-04-01T09:11:56.557" v="1266" actId="20578"/>
        <pc:sldMkLst>
          <pc:docMk/>
          <pc:sldMk cId="1721004004" sldId="1027"/>
        </pc:sldMkLst>
      </pc:sldChg>
      <pc:sldChg chg="ord">
        <pc:chgData name="Gao, Tianyun (SI BP FDO CON PROD)" userId="25b3c3cc-5a46-4d03-a516-a1293833cff3" providerId="ADAL" clId="{D28EE0E3-3F55-4F2A-8875-B92F1E1CCF13}" dt="2021-04-01T09:11:56.557" v="1266" actId="20578"/>
        <pc:sldMkLst>
          <pc:docMk/>
          <pc:sldMk cId="2638777451" sldId="2409"/>
        </pc:sldMkLst>
      </pc:sldChg>
      <pc:sldChg chg="ord">
        <pc:chgData name="Gao, Tianyun (SI BP FDO CON PROD)" userId="25b3c3cc-5a46-4d03-a516-a1293833cff3" providerId="ADAL" clId="{D28EE0E3-3F55-4F2A-8875-B92F1E1CCF13}" dt="2021-04-01T09:11:56.557" v="1266" actId="20578"/>
        <pc:sldMkLst>
          <pc:docMk/>
          <pc:sldMk cId="3111055162" sldId="2410"/>
        </pc:sldMkLst>
      </pc:sldChg>
      <pc:sldChg chg="ord">
        <pc:chgData name="Gao, Tianyun (SI BP FDO CON PROD)" userId="25b3c3cc-5a46-4d03-a516-a1293833cff3" providerId="ADAL" clId="{D28EE0E3-3F55-4F2A-8875-B92F1E1CCF13}" dt="2021-04-01T09:11:56.557" v="1266" actId="20578"/>
        <pc:sldMkLst>
          <pc:docMk/>
          <pc:sldMk cId="2857005650" sldId="2450"/>
        </pc:sldMkLst>
      </pc:sldChg>
      <pc:sldChg chg="addSp delSp modSp mod delAnim modAnim">
        <pc:chgData name="Gao, Tianyun (SI BP FDO CON PROD)" userId="25b3c3cc-5a46-4d03-a516-a1293833cff3" providerId="ADAL" clId="{D28EE0E3-3F55-4F2A-8875-B92F1E1CCF13}" dt="2021-03-24T10:50:19.915" v="5" actId="478"/>
        <pc:sldMkLst>
          <pc:docMk/>
          <pc:sldMk cId="3076480418" sldId="2541"/>
        </pc:sldMkLst>
        <pc:picChg chg="del">
          <ac:chgData name="Gao, Tianyun (SI BP FDO CON PROD)" userId="25b3c3cc-5a46-4d03-a516-a1293833cff3" providerId="ADAL" clId="{D28EE0E3-3F55-4F2A-8875-B92F1E1CCF13}" dt="2021-03-24T10:49:36.793" v="0" actId="478"/>
          <ac:picMkLst>
            <pc:docMk/>
            <pc:sldMk cId="3076480418" sldId="2541"/>
            <ac:picMk id="5" creationId="{DC39C27E-BDD5-45B2-9955-62DAAFC99DDF}"/>
          </ac:picMkLst>
        </pc:picChg>
        <pc:picChg chg="add del mod">
          <ac:chgData name="Gao, Tianyun (SI BP FDO CON PROD)" userId="25b3c3cc-5a46-4d03-a516-a1293833cff3" providerId="ADAL" clId="{D28EE0E3-3F55-4F2A-8875-B92F1E1CCF13}" dt="2021-03-24T10:50:19.915" v="5" actId="478"/>
          <ac:picMkLst>
            <pc:docMk/>
            <pc:sldMk cId="3076480418" sldId="2541"/>
            <ac:picMk id="8" creationId="{93219C9D-AB22-49C0-83B3-744EB2E7948E}"/>
          </ac:picMkLst>
        </pc:picChg>
      </pc:sldChg>
      <pc:sldChg chg="modSp mod">
        <pc:chgData name="Gao, Tianyun (SI BP FDO CON PROD)" userId="25b3c3cc-5a46-4d03-a516-a1293833cff3" providerId="ADAL" clId="{D28EE0E3-3F55-4F2A-8875-B92F1E1CCF13}" dt="2021-03-24T21:16:38.151" v="7" actId="20577"/>
        <pc:sldMkLst>
          <pc:docMk/>
          <pc:sldMk cId="3026962512" sldId="2566"/>
        </pc:sldMkLst>
        <pc:graphicFrameChg chg="modGraphic">
          <ac:chgData name="Gao, Tianyun (SI BP FDO CON PROD)" userId="25b3c3cc-5a46-4d03-a516-a1293833cff3" providerId="ADAL" clId="{D28EE0E3-3F55-4F2A-8875-B92F1E1CCF13}" dt="2021-03-24T21:16:38.151" v="7" actId="20577"/>
          <ac:graphicFrameMkLst>
            <pc:docMk/>
            <pc:sldMk cId="3026962512" sldId="2566"/>
            <ac:graphicFrameMk id="492" creationId="{C2AC56A2-ED59-4B03-BC8F-7FFC860B2B3D}"/>
          </ac:graphicFrameMkLst>
        </pc:graphicFrameChg>
      </pc:sldChg>
      <pc:sldChg chg="mod ord modShow">
        <pc:chgData name="Gao, Tianyun (SI BP FDO CON PROD)" userId="25b3c3cc-5a46-4d03-a516-a1293833cff3" providerId="ADAL" clId="{D28EE0E3-3F55-4F2A-8875-B92F1E1CCF13}" dt="2021-03-25T14:03:44.261" v="533" actId="729"/>
        <pc:sldMkLst>
          <pc:docMk/>
          <pc:sldMk cId="1162615204" sldId="2568"/>
        </pc:sldMkLst>
      </pc:sldChg>
      <pc:sldChg chg="addSp delSp modSp add mod">
        <pc:chgData name="Gao, Tianyun (SI BP FDO CON PROD)" userId="25b3c3cc-5a46-4d03-a516-a1293833cff3" providerId="ADAL" clId="{D28EE0E3-3F55-4F2A-8875-B92F1E1CCF13}" dt="2021-03-25T15:07:55.171" v="1260" actId="1076"/>
        <pc:sldMkLst>
          <pc:docMk/>
          <pc:sldMk cId="2878704115" sldId="2569"/>
        </pc:sldMkLst>
        <pc:spChg chg="del">
          <ac:chgData name="Gao, Tianyun (SI BP FDO CON PROD)" userId="25b3c3cc-5a46-4d03-a516-a1293833cff3" providerId="ADAL" clId="{D28EE0E3-3F55-4F2A-8875-B92F1E1CCF13}" dt="2021-03-25T12:50:22.338" v="40" actId="478"/>
          <ac:spMkLst>
            <pc:docMk/>
            <pc:sldMk cId="2878704115" sldId="2569"/>
            <ac:spMk id="2" creationId="{EF4B4D07-836E-4BA9-A34D-C48B253D0D06}"/>
          </ac:spMkLst>
        </pc:spChg>
        <pc:spChg chg="add mod">
          <ac:chgData name="Gao, Tianyun (SI BP FDO CON PROD)" userId="25b3c3cc-5a46-4d03-a516-a1293833cff3" providerId="ADAL" clId="{D28EE0E3-3F55-4F2A-8875-B92F1E1CCF13}" dt="2021-03-25T15:04:47.907" v="1236" actId="14100"/>
          <ac:spMkLst>
            <pc:docMk/>
            <pc:sldMk cId="2878704115" sldId="2569"/>
            <ac:spMk id="6" creationId="{E6E0A987-D2C2-4D3F-B74B-70668912FB50}"/>
          </ac:spMkLst>
        </pc:spChg>
        <pc:spChg chg="mod">
          <ac:chgData name="Gao, Tianyun (SI BP FDO CON PROD)" userId="25b3c3cc-5a46-4d03-a516-a1293833cff3" providerId="ADAL" clId="{D28EE0E3-3F55-4F2A-8875-B92F1E1CCF13}" dt="2021-03-25T12:50:20.235" v="39" actId="20577"/>
          <ac:spMkLst>
            <pc:docMk/>
            <pc:sldMk cId="2878704115" sldId="2569"/>
            <ac:spMk id="41" creationId="{ABACFB30-994A-4B20-8B0F-D485865264A8}"/>
          </ac:spMkLst>
        </pc:spChg>
        <pc:graphicFrameChg chg="del">
          <ac:chgData name="Gao, Tianyun (SI BP FDO CON PROD)" userId="25b3c3cc-5a46-4d03-a516-a1293833cff3" providerId="ADAL" clId="{D28EE0E3-3F55-4F2A-8875-B92F1E1CCF13}" dt="2021-03-25T12:50:25.091" v="41" actId="478"/>
          <ac:graphicFrameMkLst>
            <pc:docMk/>
            <pc:sldMk cId="2878704115" sldId="2569"/>
            <ac:graphicFrameMk id="3" creationId="{BF320831-E879-4E6A-810B-F485D5F4329F}"/>
          </ac:graphicFrameMkLst>
        </pc:graphicFrameChg>
        <pc:picChg chg="add mod">
          <ac:chgData name="Gao, Tianyun (SI BP FDO CON PROD)" userId="25b3c3cc-5a46-4d03-a516-a1293833cff3" providerId="ADAL" clId="{D28EE0E3-3F55-4F2A-8875-B92F1E1CCF13}" dt="2021-03-25T15:07:53.204" v="1259" actId="1076"/>
          <ac:picMkLst>
            <pc:docMk/>
            <pc:sldMk cId="2878704115" sldId="2569"/>
            <ac:picMk id="7" creationId="{D118218E-93A1-4D23-9B1E-C07DC15E2DBE}"/>
          </ac:picMkLst>
        </pc:picChg>
        <pc:picChg chg="add mod">
          <ac:chgData name="Gao, Tianyun (SI BP FDO CON PROD)" userId="25b3c3cc-5a46-4d03-a516-a1293833cff3" providerId="ADAL" clId="{D28EE0E3-3F55-4F2A-8875-B92F1E1CCF13}" dt="2021-03-25T15:07:55.171" v="1260" actId="1076"/>
          <ac:picMkLst>
            <pc:docMk/>
            <pc:sldMk cId="2878704115" sldId="2569"/>
            <ac:picMk id="8" creationId="{791F2D82-A7EF-49EC-8A8A-1C97AF8EF4BB}"/>
          </ac:picMkLst>
        </pc:picChg>
        <pc:picChg chg="add mod">
          <ac:chgData name="Gao, Tianyun (SI BP FDO CON PROD)" userId="25b3c3cc-5a46-4d03-a516-a1293833cff3" providerId="ADAL" clId="{D28EE0E3-3F55-4F2A-8875-B92F1E1CCF13}" dt="2021-03-25T15:07:41.054" v="1253" actId="1076"/>
          <ac:picMkLst>
            <pc:docMk/>
            <pc:sldMk cId="2878704115" sldId="2569"/>
            <ac:picMk id="9" creationId="{813DCB22-AE36-4FED-9DD6-029154B98DE2}"/>
          </ac:picMkLst>
        </pc:picChg>
      </pc:sldChg>
    </pc:docChg>
  </pc:docChgLst>
  <pc:docChgLst>
    <pc:chgData name="Müller, Kurt (SI BP S TSS ACD)" userId="e7e82c7e-80c6-42a5-ab71-24588885b7fe" providerId="ADAL" clId="{E2922574-84EA-4E7E-906C-F3FE7F6D5E22}"/>
    <pc:docChg chg="undo custSel delSld modSld modMainMaster">
      <pc:chgData name="Müller, Kurt (SI BP S TSS ACD)" userId="e7e82c7e-80c6-42a5-ab71-24588885b7fe" providerId="ADAL" clId="{E2922574-84EA-4E7E-906C-F3FE7F6D5E22}" dt="2021-11-26T10:36:02.819" v="9"/>
      <pc:docMkLst>
        <pc:docMk/>
      </pc:docMkLst>
      <pc:sldChg chg="del">
        <pc:chgData name="Müller, Kurt (SI BP S TSS ACD)" userId="e7e82c7e-80c6-42a5-ab71-24588885b7fe" providerId="ADAL" clId="{E2922574-84EA-4E7E-906C-F3FE7F6D5E22}" dt="2021-11-26T10:35:39.482" v="5" actId="47"/>
        <pc:sldMkLst>
          <pc:docMk/>
          <pc:sldMk cId="151343718" sldId="2433"/>
        </pc:sldMkLst>
      </pc:sldChg>
      <pc:sldChg chg="del">
        <pc:chgData name="Müller, Kurt (SI BP S TSS ACD)" userId="e7e82c7e-80c6-42a5-ab71-24588885b7fe" providerId="ADAL" clId="{E2922574-84EA-4E7E-906C-F3FE7F6D5E22}" dt="2021-11-26T10:35:41.635" v="6" actId="47"/>
        <pc:sldMkLst>
          <pc:docMk/>
          <pc:sldMk cId="3007351699" sldId="2438"/>
        </pc:sldMkLst>
      </pc:sldChg>
      <pc:sldChg chg="del">
        <pc:chgData name="Müller, Kurt (SI BP S TSS ACD)" userId="e7e82c7e-80c6-42a5-ab71-24588885b7fe" providerId="ADAL" clId="{E2922574-84EA-4E7E-906C-F3FE7F6D5E22}" dt="2021-11-26T10:35:37.593" v="4" actId="47"/>
        <pc:sldMkLst>
          <pc:docMk/>
          <pc:sldMk cId="1590403809" sldId="2577"/>
        </pc:sldMkLst>
      </pc:sldChg>
      <pc:sldChg chg="addSp delSp modSp mod">
        <pc:chgData name="Müller, Kurt (SI BP S TSS ACD)" userId="e7e82c7e-80c6-42a5-ab71-24588885b7fe" providerId="ADAL" clId="{E2922574-84EA-4E7E-906C-F3FE7F6D5E22}" dt="2021-11-26T10:36:02.819" v="9"/>
        <pc:sldMkLst>
          <pc:docMk/>
          <pc:sldMk cId="1056529729" sldId="2588"/>
        </pc:sldMkLst>
        <pc:spChg chg="add mod">
          <ac:chgData name="Müller, Kurt (SI BP S TSS ACD)" userId="e7e82c7e-80c6-42a5-ab71-24588885b7fe" providerId="ADAL" clId="{E2922574-84EA-4E7E-906C-F3FE7F6D5E22}" dt="2021-11-26T10:36:02.819" v="9"/>
          <ac:spMkLst>
            <pc:docMk/>
            <pc:sldMk cId="1056529729" sldId="2588"/>
            <ac:spMk id="18" creationId="{7BE6D021-F388-4E33-8C62-12D6079576F2}"/>
          </ac:spMkLst>
        </pc:spChg>
        <pc:spChg chg="del">
          <ac:chgData name="Müller, Kurt (SI BP S TSS ACD)" userId="e7e82c7e-80c6-42a5-ab71-24588885b7fe" providerId="ADAL" clId="{E2922574-84EA-4E7E-906C-F3FE7F6D5E22}" dt="2021-11-26T10:35:55.604" v="8" actId="478"/>
          <ac:spMkLst>
            <pc:docMk/>
            <pc:sldMk cId="1056529729" sldId="2588"/>
            <ac:spMk id="31" creationId="{CDCA9846-89AE-4FC7-8F4A-E1CBF2ECD471}"/>
          </ac:spMkLst>
        </pc:spChg>
        <pc:spChg chg="del">
          <ac:chgData name="Müller, Kurt (SI BP S TSS ACD)" userId="e7e82c7e-80c6-42a5-ab71-24588885b7fe" providerId="ADAL" clId="{E2922574-84EA-4E7E-906C-F3FE7F6D5E22}" dt="2021-11-26T10:35:53.449" v="7" actId="478"/>
          <ac:spMkLst>
            <pc:docMk/>
            <pc:sldMk cId="1056529729" sldId="2588"/>
            <ac:spMk id="43" creationId="{264E0D08-E532-4D99-B08A-DB143BF97318}"/>
          </ac:spMkLst>
        </pc:spChg>
      </pc:sldChg>
      <pc:sldMasterChg chg="modSp mod delSldLayout">
        <pc:chgData name="Müller, Kurt (SI BP S TSS ACD)" userId="e7e82c7e-80c6-42a5-ab71-24588885b7fe" providerId="ADAL" clId="{E2922574-84EA-4E7E-906C-F3FE7F6D5E22}" dt="2021-11-26T10:35:41.635" v="6" actId="47"/>
        <pc:sldMasterMkLst>
          <pc:docMk/>
          <pc:sldMasterMk cId="0" sldId="2147483669"/>
        </pc:sldMasterMkLst>
        <pc:graphicFrameChg chg="modGraphic">
          <ac:chgData name="Müller, Kurt (SI BP S TSS ACD)" userId="e7e82c7e-80c6-42a5-ab71-24588885b7fe" providerId="ADAL" clId="{E2922574-84EA-4E7E-906C-F3FE7F6D5E22}" dt="2021-11-26T10:34:37.893" v="3" actId="207"/>
          <ac:graphicFrameMkLst>
            <pc:docMk/>
            <pc:sldMasterMk cId="0" sldId="2147483669"/>
            <ac:graphicFrameMk id="47" creationId="{A634B162-C6F9-49DC-B798-6461245F51A5}"/>
          </ac:graphicFrameMkLst>
        </pc:graphicFrameChg>
        <pc:sldLayoutChg chg="del">
          <pc:chgData name="Müller, Kurt (SI BP S TSS ACD)" userId="e7e82c7e-80c6-42a5-ab71-24588885b7fe" providerId="ADAL" clId="{E2922574-84EA-4E7E-906C-F3FE7F6D5E22}" dt="2021-11-26T10:35:41.635" v="6" actId="47"/>
          <pc:sldLayoutMkLst>
            <pc:docMk/>
            <pc:sldMasterMk cId="0" sldId="2147483669"/>
            <pc:sldLayoutMk cId="662030837" sldId="2147483695"/>
          </pc:sldLayoutMkLst>
        </pc:sldLayoutChg>
      </pc:sldMasterChg>
    </pc:docChg>
  </pc:docChgLst>
  <pc:docChgLst>
    <pc:chgData name="Müller, Kurt (SI BP S TSS TR)" userId="e7e82c7e-80c6-42a5-ab71-24588885b7fe" providerId="ADAL" clId="{77F4ACE1-7C3F-41B5-B554-517ABA249111}"/>
    <pc:docChg chg="undo custSel addSld modSld sldOrd modMainMaster">
      <pc:chgData name="Müller, Kurt (SI BP S TSS TR)" userId="e7e82c7e-80c6-42a5-ab71-24588885b7fe" providerId="ADAL" clId="{77F4ACE1-7C3F-41B5-B554-517ABA249111}" dt="2021-05-20T13:33:54.832" v="160" actId="1076"/>
      <pc:docMkLst>
        <pc:docMk/>
      </pc:docMkLst>
      <pc:sldChg chg="ord">
        <pc:chgData name="Müller, Kurt (SI BP S TSS TR)" userId="e7e82c7e-80c6-42a5-ab71-24588885b7fe" providerId="ADAL" clId="{77F4ACE1-7C3F-41B5-B554-517ABA249111}" dt="2021-05-20T13:29:57.657" v="155"/>
        <pc:sldMkLst>
          <pc:docMk/>
          <pc:sldMk cId="169197447" sldId="959"/>
        </pc:sldMkLst>
      </pc:sldChg>
      <pc:sldChg chg="addSp modSp mod">
        <pc:chgData name="Müller, Kurt (SI BP S TSS TR)" userId="e7e82c7e-80c6-42a5-ab71-24588885b7fe" providerId="ADAL" clId="{77F4ACE1-7C3F-41B5-B554-517ABA249111}" dt="2021-05-19T07:49:06.355" v="51" actId="1076"/>
        <pc:sldMkLst>
          <pc:docMk/>
          <pc:sldMk cId="62519991" sldId="2397"/>
        </pc:sldMkLst>
        <pc:picChg chg="add mod">
          <ac:chgData name="Müller, Kurt (SI BP S TSS TR)" userId="e7e82c7e-80c6-42a5-ab71-24588885b7fe" providerId="ADAL" clId="{77F4ACE1-7C3F-41B5-B554-517ABA249111}" dt="2021-05-19T07:49:03.971" v="50" actId="1076"/>
          <ac:picMkLst>
            <pc:docMk/>
            <pc:sldMk cId="62519991" sldId="2397"/>
            <ac:picMk id="4" creationId="{672B1F64-C71F-4F16-ABE5-9E840E6BAE3D}"/>
          </ac:picMkLst>
        </pc:picChg>
        <pc:picChg chg="mod">
          <ac:chgData name="Müller, Kurt (SI BP S TSS TR)" userId="e7e82c7e-80c6-42a5-ab71-24588885b7fe" providerId="ADAL" clId="{77F4ACE1-7C3F-41B5-B554-517ABA249111}" dt="2021-05-19T07:49:01.875" v="49" actId="1076"/>
          <ac:picMkLst>
            <pc:docMk/>
            <pc:sldMk cId="62519991" sldId="2397"/>
            <ac:picMk id="5" creationId="{01872989-6154-4DC6-9578-D2EEA8C31707}"/>
          </ac:picMkLst>
        </pc:picChg>
        <pc:picChg chg="mod">
          <ac:chgData name="Müller, Kurt (SI BP S TSS TR)" userId="e7e82c7e-80c6-42a5-ab71-24588885b7fe" providerId="ADAL" clId="{77F4ACE1-7C3F-41B5-B554-517ABA249111}" dt="2021-05-19T07:49:06.355" v="51" actId="1076"/>
          <ac:picMkLst>
            <pc:docMk/>
            <pc:sldMk cId="62519991" sldId="2397"/>
            <ac:picMk id="7" creationId="{3C3084D4-0420-49E3-9287-AD7FC987A4D2}"/>
          </ac:picMkLst>
        </pc:picChg>
      </pc:sldChg>
      <pc:sldChg chg="modSp mod">
        <pc:chgData name="Müller, Kurt (SI BP S TSS TR)" userId="e7e82c7e-80c6-42a5-ab71-24588885b7fe" providerId="ADAL" clId="{77F4ACE1-7C3F-41B5-B554-517ABA249111}" dt="2021-05-20T13:25:44.386" v="84" actId="20577"/>
        <pc:sldMkLst>
          <pc:docMk/>
          <pc:sldMk cId="2638777451" sldId="2409"/>
        </pc:sldMkLst>
        <pc:spChg chg="mod">
          <ac:chgData name="Müller, Kurt (SI BP S TSS TR)" userId="e7e82c7e-80c6-42a5-ab71-24588885b7fe" providerId="ADAL" clId="{77F4ACE1-7C3F-41B5-B554-517ABA249111}" dt="2021-05-20T13:25:44.386" v="84" actId="20577"/>
          <ac:spMkLst>
            <pc:docMk/>
            <pc:sldMk cId="2638777451" sldId="2409"/>
            <ac:spMk id="4" creationId="{00000000-0000-0000-0000-000000000000}"/>
          </ac:spMkLst>
        </pc:spChg>
      </pc:sldChg>
      <pc:sldChg chg="addSp modSp mod">
        <pc:chgData name="Müller, Kurt (SI BP S TSS TR)" userId="e7e82c7e-80c6-42a5-ab71-24588885b7fe" providerId="ADAL" clId="{77F4ACE1-7C3F-41B5-B554-517ABA249111}" dt="2021-05-18T10:38:20.833" v="41" actId="1076"/>
        <pc:sldMkLst>
          <pc:docMk/>
          <pc:sldMk cId="1217175717" sldId="2415"/>
        </pc:sldMkLst>
        <pc:spChg chg="mod">
          <ac:chgData name="Müller, Kurt (SI BP S TSS TR)" userId="e7e82c7e-80c6-42a5-ab71-24588885b7fe" providerId="ADAL" clId="{77F4ACE1-7C3F-41B5-B554-517ABA249111}" dt="2021-05-17T16:39:29.192" v="18" actId="1076"/>
          <ac:spMkLst>
            <pc:docMk/>
            <pc:sldMk cId="1217175717" sldId="2415"/>
            <ac:spMk id="23" creationId="{9F087C5A-D8B3-4C07-8146-E2A1E497AE02}"/>
          </ac:spMkLst>
        </pc:spChg>
        <pc:spChg chg="mod">
          <ac:chgData name="Müller, Kurt (SI BP S TSS TR)" userId="e7e82c7e-80c6-42a5-ab71-24588885b7fe" providerId="ADAL" clId="{77F4ACE1-7C3F-41B5-B554-517ABA249111}" dt="2021-05-17T16:39:29.192" v="18" actId="1076"/>
          <ac:spMkLst>
            <pc:docMk/>
            <pc:sldMk cId="1217175717" sldId="2415"/>
            <ac:spMk id="25" creationId="{ED890EFA-4221-42E3-9001-78BF316122C4}"/>
          </ac:spMkLst>
        </pc:spChg>
        <pc:spChg chg="mod">
          <ac:chgData name="Müller, Kurt (SI BP S TSS TR)" userId="e7e82c7e-80c6-42a5-ab71-24588885b7fe" providerId="ADAL" clId="{77F4ACE1-7C3F-41B5-B554-517ABA249111}" dt="2021-05-17T16:39:29.192" v="18" actId="1076"/>
          <ac:spMkLst>
            <pc:docMk/>
            <pc:sldMk cId="1217175717" sldId="2415"/>
            <ac:spMk id="31" creationId="{2C4A0621-0B7F-4712-A7E4-D9DE36F08389}"/>
          </ac:spMkLst>
        </pc:spChg>
        <pc:spChg chg="mod">
          <ac:chgData name="Müller, Kurt (SI BP S TSS TR)" userId="e7e82c7e-80c6-42a5-ab71-24588885b7fe" providerId="ADAL" clId="{77F4ACE1-7C3F-41B5-B554-517ABA249111}" dt="2021-05-17T16:39:29.192" v="18" actId="1076"/>
          <ac:spMkLst>
            <pc:docMk/>
            <pc:sldMk cId="1217175717" sldId="2415"/>
            <ac:spMk id="32" creationId="{EF81387F-9354-409C-B29E-96ADC3167C8F}"/>
          </ac:spMkLst>
        </pc:spChg>
        <pc:spChg chg="mod">
          <ac:chgData name="Müller, Kurt (SI BP S TSS TR)" userId="e7e82c7e-80c6-42a5-ab71-24588885b7fe" providerId="ADAL" clId="{77F4ACE1-7C3F-41B5-B554-517ABA249111}" dt="2021-05-17T16:39:29.192" v="18" actId="1076"/>
          <ac:spMkLst>
            <pc:docMk/>
            <pc:sldMk cId="1217175717" sldId="2415"/>
            <ac:spMk id="33" creationId="{050278F8-DED2-4B99-8F92-C8FDF3D38D46}"/>
          </ac:spMkLst>
        </pc:spChg>
        <pc:spChg chg="mod">
          <ac:chgData name="Müller, Kurt (SI BP S TSS TR)" userId="e7e82c7e-80c6-42a5-ab71-24588885b7fe" providerId="ADAL" clId="{77F4ACE1-7C3F-41B5-B554-517ABA249111}" dt="2021-05-17T16:39:29.192" v="18" actId="1076"/>
          <ac:spMkLst>
            <pc:docMk/>
            <pc:sldMk cId="1217175717" sldId="2415"/>
            <ac:spMk id="34" creationId="{ACFD12B7-49B6-4916-B9FF-99EC27D58044}"/>
          </ac:spMkLst>
        </pc:spChg>
        <pc:spChg chg="mod">
          <ac:chgData name="Müller, Kurt (SI BP S TSS TR)" userId="e7e82c7e-80c6-42a5-ab71-24588885b7fe" providerId="ADAL" clId="{77F4ACE1-7C3F-41B5-B554-517ABA249111}" dt="2021-05-17T16:39:29.192" v="18" actId="1076"/>
          <ac:spMkLst>
            <pc:docMk/>
            <pc:sldMk cId="1217175717" sldId="2415"/>
            <ac:spMk id="35" creationId="{3F1FD698-9B61-494E-A3BE-326853C7E6A0}"/>
          </ac:spMkLst>
        </pc:spChg>
        <pc:spChg chg="mod">
          <ac:chgData name="Müller, Kurt (SI BP S TSS TR)" userId="e7e82c7e-80c6-42a5-ab71-24588885b7fe" providerId="ADAL" clId="{77F4ACE1-7C3F-41B5-B554-517ABA249111}" dt="2021-05-17T16:39:29.192" v="18" actId="1076"/>
          <ac:spMkLst>
            <pc:docMk/>
            <pc:sldMk cId="1217175717" sldId="2415"/>
            <ac:spMk id="36" creationId="{AC938EC3-4BB5-4FC3-929D-47653E78DF5D}"/>
          </ac:spMkLst>
        </pc:spChg>
        <pc:spChg chg="mod">
          <ac:chgData name="Müller, Kurt (SI BP S TSS TR)" userId="e7e82c7e-80c6-42a5-ab71-24588885b7fe" providerId="ADAL" clId="{77F4ACE1-7C3F-41B5-B554-517ABA249111}" dt="2021-05-17T16:39:29.192" v="18" actId="1076"/>
          <ac:spMkLst>
            <pc:docMk/>
            <pc:sldMk cId="1217175717" sldId="2415"/>
            <ac:spMk id="37" creationId="{F2CD2873-84A5-40DE-82DD-9F1CEB247CFB}"/>
          </ac:spMkLst>
        </pc:spChg>
        <pc:spChg chg="mod">
          <ac:chgData name="Müller, Kurt (SI BP S TSS TR)" userId="e7e82c7e-80c6-42a5-ab71-24588885b7fe" providerId="ADAL" clId="{77F4ACE1-7C3F-41B5-B554-517ABA249111}" dt="2021-05-17T16:39:29.192" v="18" actId="1076"/>
          <ac:spMkLst>
            <pc:docMk/>
            <pc:sldMk cId="1217175717" sldId="2415"/>
            <ac:spMk id="38" creationId="{337D7776-8193-4B3F-8F68-BB12D419FF66}"/>
          </ac:spMkLst>
        </pc:spChg>
        <pc:spChg chg="mod">
          <ac:chgData name="Müller, Kurt (SI BP S TSS TR)" userId="e7e82c7e-80c6-42a5-ab71-24588885b7fe" providerId="ADAL" clId="{77F4ACE1-7C3F-41B5-B554-517ABA249111}" dt="2021-05-17T16:39:29.192" v="18" actId="1076"/>
          <ac:spMkLst>
            <pc:docMk/>
            <pc:sldMk cId="1217175717" sldId="2415"/>
            <ac:spMk id="39" creationId="{20AF89A9-275F-41EB-850E-A7FEE2168A31}"/>
          </ac:spMkLst>
        </pc:spChg>
        <pc:spChg chg="mod">
          <ac:chgData name="Müller, Kurt (SI BP S TSS TR)" userId="e7e82c7e-80c6-42a5-ab71-24588885b7fe" providerId="ADAL" clId="{77F4ACE1-7C3F-41B5-B554-517ABA249111}" dt="2021-05-17T16:39:29.192" v="18" actId="1076"/>
          <ac:spMkLst>
            <pc:docMk/>
            <pc:sldMk cId="1217175717" sldId="2415"/>
            <ac:spMk id="40" creationId="{F09807B8-3FDF-4737-8394-FAE1C993F709}"/>
          </ac:spMkLst>
        </pc:spChg>
        <pc:spChg chg="mod">
          <ac:chgData name="Müller, Kurt (SI BP S TSS TR)" userId="e7e82c7e-80c6-42a5-ab71-24588885b7fe" providerId="ADAL" clId="{77F4ACE1-7C3F-41B5-B554-517ABA249111}" dt="2021-05-17T16:39:29.192" v="18" actId="1076"/>
          <ac:spMkLst>
            <pc:docMk/>
            <pc:sldMk cId="1217175717" sldId="2415"/>
            <ac:spMk id="41" creationId="{DF40E61D-962C-43F5-A218-6242CCCD2993}"/>
          </ac:spMkLst>
        </pc:spChg>
        <pc:spChg chg="mod">
          <ac:chgData name="Müller, Kurt (SI BP S TSS TR)" userId="e7e82c7e-80c6-42a5-ab71-24588885b7fe" providerId="ADAL" clId="{77F4ACE1-7C3F-41B5-B554-517ABA249111}" dt="2021-05-17T16:39:29.192" v="18" actId="1076"/>
          <ac:spMkLst>
            <pc:docMk/>
            <pc:sldMk cId="1217175717" sldId="2415"/>
            <ac:spMk id="42" creationId="{C5CC7937-FDE2-4530-9819-4DAB7C35A471}"/>
          </ac:spMkLst>
        </pc:spChg>
        <pc:grpChg chg="mod">
          <ac:chgData name="Müller, Kurt (SI BP S TSS TR)" userId="e7e82c7e-80c6-42a5-ab71-24588885b7fe" providerId="ADAL" clId="{77F4ACE1-7C3F-41B5-B554-517ABA249111}" dt="2021-05-18T10:38:20.833" v="41" actId="1076"/>
          <ac:grpSpMkLst>
            <pc:docMk/>
            <pc:sldMk cId="1217175717" sldId="2415"/>
            <ac:grpSpMk id="8" creationId="{32BB6083-29B0-4D20-BE91-427A1D91E6D6}"/>
          </ac:grpSpMkLst>
        </pc:grpChg>
        <pc:grpChg chg="add mod">
          <ac:chgData name="Müller, Kurt (SI BP S TSS TR)" userId="e7e82c7e-80c6-42a5-ab71-24588885b7fe" providerId="ADAL" clId="{77F4ACE1-7C3F-41B5-B554-517ABA249111}" dt="2021-05-17T16:39:29.192" v="18" actId="1076"/>
          <ac:grpSpMkLst>
            <pc:docMk/>
            <pc:sldMk cId="1217175717" sldId="2415"/>
            <ac:grpSpMk id="21" creationId="{F87C0937-C7B6-437C-B4E4-6733F094EE98}"/>
          </ac:grpSpMkLst>
        </pc:grpChg>
        <pc:grpChg chg="mod">
          <ac:chgData name="Müller, Kurt (SI BP S TSS TR)" userId="e7e82c7e-80c6-42a5-ab71-24588885b7fe" providerId="ADAL" clId="{77F4ACE1-7C3F-41B5-B554-517ABA249111}" dt="2021-05-17T16:39:29.192" v="18" actId="1076"/>
          <ac:grpSpMkLst>
            <pc:docMk/>
            <pc:sldMk cId="1217175717" sldId="2415"/>
            <ac:grpSpMk id="22" creationId="{1D2EE257-A97C-4057-94CC-98C0E9722EF9}"/>
          </ac:grpSpMkLst>
        </pc:grpChg>
        <pc:grpChg chg="mod">
          <ac:chgData name="Müller, Kurt (SI BP S TSS TR)" userId="e7e82c7e-80c6-42a5-ab71-24588885b7fe" providerId="ADAL" clId="{77F4ACE1-7C3F-41B5-B554-517ABA249111}" dt="2021-05-17T16:39:29.192" v="18" actId="1076"/>
          <ac:grpSpMkLst>
            <pc:docMk/>
            <pc:sldMk cId="1217175717" sldId="2415"/>
            <ac:grpSpMk id="24" creationId="{8FCB56B1-BDD1-4578-8548-22EA57EA9420}"/>
          </ac:grpSpMkLst>
        </pc:grpChg>
      </pc:sldChg>
      <pc:sldChg chg="modSp mod ord">
        <pc:chgData name="Müller, Kurt (SI BP S TSS TR)" userId="e7e82c7e-80c6-42a5-ab71-24588885b7fe" providerId="ADAL" clId="{77F4ACE1-7C3F-41B5-B554-517ABA249111}" dt="2021-05-20T13:30:12.115" v="157"/>
        <pc:sldMkLst>
          <pc:docMk/>
          <pc:sldMk cId="438231851" sldId="2416"/>
        </pc:sldMkLst>
        <pc:grpChg chg="mod">
          <ac:chgData name="Müller, Kurt (SI BP S TSS TR)" userId="e7e82c7e-80c6-42a5-ab71-24588885b7fe" providerId="ADAL" clId="{77F4ACE1-7C3F-41B5-B554-517ABA249111}" dt="2021-05-18T10:37:44.012" v="38" actId="1076"/>
          <ac:grpSpMkLst>
            <pc:docMk/>
            <pc:sldMk cId="438231851" sldId="2416"/>
            <ac:grpSpMk id="51" creationId="{5F82FDA3-480E-4672-BA45-4C0E8CF94CBE}"/>
          </ac:grpSpMkLst>
        </pc:grpChg>
      </pc:sldChg>
      <pc:sldChg chg="ord">
        <pc:chgData name="Müller, Kurt (SI BP S TSS TR)" userId="e7e82c7e-80c6-42a5-ab71-24588885b7fe" providerId="ADAL" clId="{77F4ACE1-7C3F-41B5-B554-517ABA249111}" dt="2021-05-20T13:30:12.115" v="157"/>
        <pc:sldMkLst>
          <pc:docMk/>
          <pc:sldMk cId="2615247344" sldId="2417"/>
        </pc:sldMkLst>
      </pc:sldChg>
      <pc:sldChg chg="ord">
        <pc:chgData name="Müller, Kurt (SI BP S TSS TR)" userId="e7e82c7e-80c6-42a5-ab71-24588885b7fe" providerId="ADAL" clId="{77F4ACE1-7C3F-41B5-B554-517ABA249111}" dt="2021-05-20T13:28:25.859" v="123"/>
        <pc:sldMkLst>
          <pc:docMk/>
          <pc:sldMk cId="318514043" sldId="2422"/>
        </pc:sldMkLst>
      </pc:sldChg>
      <pc:sldChg chg="ord">
        <pc:chgData name="Müller, Kurt (SI BP S TSS TR)" userId="e7e82c7e-80c6-42a5-ab71-24588885b7fe" providerId="ADAL" clId="{77F4ACE1-7C3F-41B5-B554-517ABA249111}" dt="2021-05-20T13:28:25.859" v="123"/>
        <pc:sldMkLst>
          <pc:docMk/>
          <pc:sldMk cId="3671773301" sldId="2423"/>
        </pc:sldMkLst>
      </pc:sldChg>
      <pc:sldChg chg="ord">
        <pc:chgData name="Müller, Kurt (SI BP S TSS TR)" userId="e7e82c7e-80c6-42a5-ab71-24588885b7fe" providerId="ADAL" clId="{77F4ACE1-7C3F-41B5-B554-517ABA249111}" dt="2021-05-20T13:28:25.859" v="123"/>
        <pc:sldMkLst>
          <pc:docMk/>
          <pc:sldMk cId="802286998" sldId="2424"/>
        </pc:sldMkLst>
      </pc:sldChg>
      <pc:sldChg chg="addSp delSp modSp add mod ord">
        <pc:chgData name="Müller, Kurt (SI BP S TSS TR)" userId="e7e82c7e-80c6-42a5-ab71-24588885b7fe" providerId="ADAL" clId="{77F4ACE1-7C3F-41B5-B554-517ABA249111}" dt="2021-05-20T13:33:54.832" v="160" actId="1076"/>
        <pc:sldMkLst>
          <pc:docMk/>
          <pc:sldMk cId="1683107026" sldId="2571"/>
        </pc:sldMkLst>
        <pc:spChg chg="del">
          <ac:chgData name="Müller, Kurt (SI BP S TSS TR)" userId="e7e82c7e-80c6-42a5-ab71-24588885b7fe" providerId="ADAL" clId="{77F4ACE1-7C3F-41B5-B554-517ABA249111}" dt="2021-05-18T07:48:39.626" v="20" actId="478"/>
          <ac:spMkLst>
            <pc:docMk/>
            <pc:sldMk cId="1683107026" sldId="2571"/>
            <ac:spMk id="3" creationId="{AFAE7150-A105-4283-B6C3-5A51A3BD5720}"/>
          </ac:spMkLst>
        </pc:spChg>
        <pc:grpChg chg="del">
          <ac:chgData name="Müller, Kurt (SI BP S TSS TR)" userId="e7e82c7e-80c6-42a5-ab71-24588885b7fe" providerId="ADAL" clId="{77F4ACE1-7C3F-41B5-B554-517ABA249111}" dt="2021-05-18T07:48:39.626" v="20" actId="478"/>
          <ac:grpSpMkLst>
            <pc:docMk/>
            <pc:sldMk cId="1683107026" sldId="2571"/>
            <ac:grpSpMk id="4" creationId="{E351C22B-8A04-476B-A645-B6AA3B1562A2}"/>
          </ac:grpSpMkLst>
        </pc:grpChg>
        <pc:grpChg chg="del">
          <ac:chgData name="Müller, Kurt (SI BP S TSS TR)" userId="e7e82c7e-80c6-42a5-ab71-24588885b7fe" providerId="ADAL" clId="{77F4ACE1-7C3F-41B5-B554-517ABA249111}" dt="2021-05-18T07:48:39.626" v="20" actId="478"/>
          <ac:grpSpMkLst>
            <pc:docMk/>
            <pc:sldMk cId="1683107026" sldId="2571"/>
            <ac:grpSpMk id="5" creationId="{669F595A-F3B3-44C8-8CB5-09DCCC9DE011}"/>
          </ac:grpSpMkLst>
        </pc:grpChg>
        <pc:grpChg chg="del">
          <ac:chgData name="Müller, Kurt (SI BP S TSS TR)" userId="e7e82c7e-80c6-42a5-ab71-24588885b7fe" providerId="ADAL" clId="{77F4ACE1-7C3F-41B5-B554-517ABA249111}" dt="2021-05-18T07:48:39.626" v="20" actId="478"/>
          <ac:grpSpMkLst>
            <pc:docMk/>
            <pc:sldMk cId="1683107026" sldId="2571"/>
            <ac:grpSpMk id="8" creationId="{32BB6083-29B0-4D20-BE91-427A1D91E6D6}"/>
          </ac:grpSpMkLst>
        </pc:grpChg>
        <pc:grpChg chg="del">
          <ac:chgData name="Müller, Kurt (SI BP S TSS TR)" userId="e7e82c7e-80c6-42a5-ab71-24588885b7fe" providerId="ADAL" clId="{77F4ACE1-7C3F-41B5-B554-517ABA249111}" dt="2021-05-18T07:48:39.626" v="20" actId="478"/>
          <ac:grpSpMkLst>
            <pc:docMk/>
            <pc:sldMk cId="1683107026" sldId="2571"/>
            <ac:grpSpMk id="21" creationId="{F87C0937-C7B6-437C-B4E4-6733F094EE98}"/>
          </ac:grpSpMkLst>
        </pc:grpChg>
        <pc:picChg chg="add del mod">
          <ac:chgData name="Müller, Kurt (SI BP S TSS TR)" userId="e7e82c7e-80c6-42a5-ab71-24588885b7fe" providerId="ADAL" clId="{77F4ACE1-7C3F-41B5-B554-517ABA249111}" dt="2021-05-20T13:33:54.832" v="160" actId="1076"/>
          <ac:picMkLst>
            <pc:docMk/>
            <pc:sldMk cId="1683107026" sldId="2571"/>
            <ac:picMk id="11" creationId="{AE0A9E03-9FD2-499F-B5E3-A6DC8CF74ED5}"/>
          </ac:picMkLst>
        </pc:picChg>
        <pc:picChg chg="add mod">
          <ac:chgData name="Müller, Kurt (SI BP S TSS TR)" userId="e7e82c7e-80c6-42a5-ab71-24588885b7fe" providerId="ADAL" clId="{77F4ACE1-7C3F-41B5-B554-517ABA249111}" dt="2021-05-20T13:33:45.592" v="158" actId="1076"/>
          <ac:picMkLst>
            <pc:docMk/>
            <pc:sldMk cId="1683107026" sldId="2571"/>
            <ac:picMk id="13" creationId="{2F5DA1EA-AEA1-4FE2-913A-65F3D6973760}"/>
          </ac:picMkLst>
        </pc:picChg>
        <pc:picChg chg="add mod">
          <ac:chgData name="Müller, Kurt (SI BP S TSS TR)" userId="e7e82c7e-80c6-42a5-ab71-24588885b7fe" providerId="ADAL" clId="{77F4ACE1-7C3F-41B5-B554-517ABA249111}" dt="2021-05-18T07:51:19.172" v="37" actId="1076"/>
          <ac:picMkLst>
            <pc:docMk/>
            <pc:sldMk cId="1683107026" sldId="2571"/>
            <ac:picMk id="17" creationId="{877EF6B5-B38F-4DB6-9139-31B5E65D8006}"/>
          </ac:picMkLst>
        </pc:picChg>
      </pc:sldChg>
      <pc:sldChg chg="modSp add mod ord">
        <pc:chgData name="Müller, Kurt (SI BP S TSS TR)" userId="e7e82c7e-80c6-42a5-ab71-24588885b7fe" providerId="ADAL" clId="{77F4ACE1-7C3F-41B5-B554-517ABA249111}" dt="2021-05-20T13:28:58.050" v="149" actId="6549"/>
        <pc:sldMkLst>
          <pc:docMk/>
          <pc:sldMk cId="1295286918" sldId="2572"/>
        </pc:sldMkLst>
        <pc:spChg chg="mod">
          <ac:chgData name="Müller, Kurt (SI BP S TSS TR)" userId="e7e82c7e-80c6-42a5-ab71-24588885b7fe" providerId="ADAL" clId="{77F4ACE1-7C3F-41B5-B554-517ABA249111}" dt="2021-05-20T13:28:58.050" v="149" actId="6549"/>
          <ac:spMkLst>
            <pc:docMk/>
            <pc:sldMk cId="1295286918" sldId="2572"/>
            <ac:spMk id="4" creationId="{00000000-0000-0000-0000-000000000000}"/>
          </ac:spMkLst>
        </pc:spChg>
      </pc:sldChg>
      <pc:sldMasterChg chg="modSp mod">
        <pc:chgData name="Müller, Kurt (SI BP S TSS TR)" userId="e7e82c7e-80c6-42a5-ab71-24588885b7fe" providerId="ADAL" clId="{77F4ACE1-7C3F-41B5-B554-517ABA249111}" dt="2021-05-20T13:19:48.614" v="56" actId="20577"/>
        <pc:sldMasterMkLst>
          <pc:docMk/>
          <pc:sldMasterMk cId="0" sldId="2147483669"/>
        </pc:sldMasterMkLst>
        <pc:graphicFrameChg chg="modGraphic">
          <ac:chgData name="Müller, Kurt (SI BP S TSS TR)" userId="e7e82c7e-80c6-42a5-ab71-24588885b7fe" providerId="ADAL" clId="{77F4ACE1-7C3F-41B5-B554-517ABA249111}" dt="2021-05-20T13:19:48.614" v="56" actId="20577"/>
          <ac:graphicFrameMkLst>
            <pc:docMk/>
            <pc:sldMasterMk cId="0" sldId="2147483669"/>
            <ac:graphicFrameMk id="47" creationId="{A634B162-C6F9-49DC-B798-6461245F51A5}"/>
          </ac:graphicFrameMkLst>
        </pc:graphicFrameChg>
      </pc:sldMasterChg>
    </pc:docChg>
  </pc:docChgLst>
  <pc:docChgLst>
    <pc:chgData name="Potts, Martin (SI BP AUT EA PROD)" userId="S::potts.martin@siemens.com::1c09e04d-566f-43fe-be34-cdef6a9eacfe" providerId="AD" clId="Web-{204991F0-C017-E59F-B86D-7DD97F326E82}"/>
    <pc:docChg chg="modSld">
      <pc:chgData name="Potts, Martin (SI BP AUT EA PROD)" userId="S::potts.martin@siemens.com::1c09e04d-566f-43fe-be34-cdef6a9eacfe" providerId="AD" clId="Web-{204991F0-C017-E59F-B86D-7DD97F326E82}" dt="2021-06-22T11:29:17.668" v="9" actId="14100"/>
      <pc:docMkLst>
        <pc:docMk/>
      </pc:docMkLst>
      <pc:sldChg chg="addSp delSp modSp">
        <pc:chgData name="Potts, Martin (SI BP AUT EA PROD)" userId="S::potts.martin@siemens.com::1c09e04d-566f-43fe-be34-cdef6a9eacfe" providerId="AD" clId="Web-{204991F0-C017-E59F-B86D-7DD97F326E82}" dt="2021-06-22T11:29:17.668" v="9" actId="14100"/>
        <pc:sldMkLst>
          <pc:docMk/>
          <pc:sldMk cId="218520005" sldId="2576"/>
        </pc:sldMkLst>
        <pc:spChg chg="mod">
          <ac:chgData name="Potts, Martin (SI BP AUT EA PROD)" userId="S::potts.martin@siemens.com::1c09e04d-566f-43fe-be34-cdef6a9eacfe" providerId="AD" clId="Web-{204991F0-C017-E59F-B86D-7DD97F326E82}" dt="2021-06-22T11:29:17.668" v="9" actId="14100"/>
          <ac:spMkLst>
            <pc:docMk/>
            <pc:sldMk cId="218520005" sldId="2576"/>
            <ac:spMk id="111" creationId="{0E4EE65A-2F9D-447F-A308-C671BDABB7CE}"/>
          </ac:spMkLst>
        </pc:spChg>
        <pc:spChg chg="add mod">
          <ac:chgData name="Potts, Martin (SI BP AUT EA PROD)" userId="S::potts.martin@siemens.com::1c09e04d-566f-43fe-be34-cdef6a9eacfe" providerId="AD" clId="Web-{204991F0-C017-E59F-B86D-7DD97F326E82}" dt="2021-06-22T11:28:21.134" v="2" actId="1076"/>
          <ac:spMkLst>
            <pc:docMk/>
            <pc:sldMk cId="218520005" sldId="2576"/>
            <ac:spMk id="129" creationId="{EEBFC678-4642-4482-A5E4-15B4F919CC01}"/>
          </ac:spMkLst>
        </pc:spChg>
        <pc:spChg chg="mod">
          <ac:chgData name="Potts, Martin (SI BP AUT EA PROD)" userId="S::potts.martin@siemens.com::1c09e04d-566f-43fe-be34-cdef6a9eacfe" providerId="AD" clId="Web-{204991F0-C017-E59F-B86D-7DD97F326E82}" dt="2021-06-22T11:28:28.197" v="4" actId="1076"/>
          <ac:spMkLst>
            <pc:docMk/>
            <pc:sldMk cId="218520005" sldId="2576"/>
            <ac:spMk id="179" creationId="{9257C674-00E1-4E7D-8410-A171723F0F9D}"/>
          </ac:spMkLst>
        </pc:spChg>
        <pc:grpChg chg="mod">
          <ac:chgData name="Potts, Martin (SI BP AUT EA PROD)" userId="S::potts.martin@siemens.com::1c09e04d-566f-43fe-be34-cdef6a9eacfe" providerId="AD" clId="Web-{204991F0-C017-E59F-B86D-7DD97F326E82}" dt="2021-06-22T11:29:03.089" v="7" actId="14100"/>
          <ac:grpSpMkLst>
            <pc:docMk/>
            <pc:sldMk cId="218520005" sldId="2576"/>
            <ac:grpSpMk id="120" creationId="{7BC5C803-395B-4E9A-A354-6A186F8A4621}"/>
          </ac:grpSpMkLst>
        </pc:grpChg>
        <pc:cxnChg chg="mod">
          <ac:chgData name="Potts, Martin (SI BP AUT EA PROD)" userId="S::potts.martin@siemens.com::1c09e04d-566f-43fe-be34-cdef6a9eacfe" providerId="AD" clId="Web-{204991F0-C017-E59F-B86D-7DD97F326E82}" dt="2021-06-22T11:29:17.668" v="9" actId="14100"/>
          <ac:cxnSpMkLst>
            <pc:docMk/>
            <pc:sldMk cId="218520005" sldId="2576"/>
            <ac:cxnSpMk id="112" creationId="{3B5DB2A6-A4F6-41B5-93D5-D339C358EEFC}"/>
          </ac:cxnSpMkLst>
        </pc:cxnChg>
        <pc:cxnChg chg="mod">
          <ac:chgData name="Potts, Martin (SI BP AUT EA PROD)" userId="S::potts.martin@siemens.com::1c09e04d-566f-43fe-be34-cdef6a9eacfe" providerId="AD" clId="Web-{204991F0-C017-E59F-B86D-7DD97F326E82}" dt="2021-06-22T11:29:17.668" v="9" actId="14100"/>
          <ac:cxnSpMkLst>
            <pc:docMk/>
            <pc:sldMk cId="218520005" sldId="2576"/>
            <ac:cxnSpMk id="115" creationId="{324D32CF-9913-4CC5-A672-D92FEDAA6B7B}"/>
          </ac:cxnSpMkLst>
        </pc:cxnChg>
        <pc:cxnChg chg="add mod">
          <ac:chgData name="Potts, Martin (SI BP AUT EA PROD)" userId="S::potts.martin@siemens.com::1c09e04d-566f-43fe-be34-cdef6a9eacfe" providerId="AD" clId="Web-{204991F0-C017-E59F-B86D-7DD97F326E82}" dt="2021-06-22T11:28:21.228" v="3" actId="1076"/>
          <ac:cxnSpMkLst>
            <pc:docMk/>
            <pc:sldMk cId="218520005" sldId="2576"/>
            <ac:cxnSpMk id="131" creationId="{8D5EEAE2-FF34-41E1-891F-552DFA00C85E}"/>
          </ac:cxnSpMkLst>
        </pc:cxnChg>
        <pc:cxnChg chg="del mod">
          <ac:chgData name="Potts, Martin (SI BP AUT EA PROD)" userId="S::potts.martin@siemens.com::1c09e04d-566f-43fe-be34-cdef6a9eacfe" providerId="AD" clId="Web-{204991F0-C017-E59F-B86D-7DD97F326E82}" dt="2021-06-22T11:28:29.353" v="5"/>
          <ac:cxnSpMkLst>
            <pc:docMk/>
            <pc:sldMk cId="218520005" sldId="2576"/>
            <ac:cxnSpMk id="180" creationId="{33A81750-8257-451E-8B49-4236E678C0D1}"/>
          </ac:cxnSpMkLst>
        </pc:cxnChg>
      </pc:sldChg>
    </pc:docChg>
  </pc:docChgLst>
  <pc:docChgLst>
    <pc:chgData name="Gao, Tianyun (SI BP AUT EA PROD)" userId="25b3c3cc-5a46-4d03-a516-a1293833cff3" providerId="ADAL" clId="{189F33BE-54A5-4A4B-A8B0-5CFD4CE95B86}"/>
    <pc:docChg chg="custSel addSld delSld modSld">
      <pc:chgData name="Gao, Tianyun (SI BP AUT EA PROD)" userId="25b3c3cc-5a46-4d03-a516-a1293833cff3" providerId="ADAL" clId="{189F33BE-54A5-4A4B-A8B0-5CFD4CE95B86}" dt="2021-07-27T20:01:34.911" v="25" actId="47"/>
      <pc:docMkLst>
        <pc:docMk/>
      </pc:docMkLst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3044083358" sldId="268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494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499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500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501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502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503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504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505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506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507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508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509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510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511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512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513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514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515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516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517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518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519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520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2664962741" sldId="670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3924494388" sldId="675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3036489879" sldId="676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704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705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706"/>
        </pc:sldMkLst>
      </pc:sldChg>
      <pc:sldChg chg="modSp mod">
        <pc:chgData name="Gao, Tianyun (SI BP AUT EA PROD)" userId="25b3c3cc-5a46-4d03-a516-a1293833cff3" providerId="ADAL" clId="{189F33BE-54A5-4A4B-A8B0-5CFD4CE95B86}" dt="2021-07-27T19:59:07.703" v="22" actId="1076"/>
        <pc:sldMkLst>
          <pc:docMk/>
          <pc:sldMk cId="0" sldId="879"/>
        </pc:sldMkLst>
        <pc:spChg chg="mod">
          <ac:chgData name="Gao, Tianyun (SI BP AUT EA PROD)" userId="25b3c3cc-5a46-4d03-a516-a1293833cff3" providerId="ADAL" clId="{189F33BE-54A5-4A4B-A8B0-5CFD4CE95B86}" dt="2021-07-27T19:59:07.703" v="22" actId="1076"/>
          <ac:spMkLst>
            <pc:docMk/>
            <pc:sldMk cId="0" sldId="879"/>
            <ac:spMk id="6" creationId="{8E68476E-93AD-4251-B244-8DD265734402}"/>
          </ac:spMkLst>
        </pc:spChg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880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881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882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2421002243" sldId="935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1204534231" sldId="948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1838077587" sldId="959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838106306" sldId="960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1094743058" sldId="961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4149258645" sldId="962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1044414276" sldId="963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3768639539" sldId="966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3635193786" sldId="967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324226510" sldId="968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4268296303" sldId="969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1275340611" sldId="970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2884536962" sldId="971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2408277208" sldId="972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2852314789" sldId="973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4198579175" sldId="1017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1721004004" sldId="1027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2593355085" sldId="2376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627141999" sldId="2389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4077194298" sldId="2396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3131744600" sldId="2401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525226253" sldId="2413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694935932" sldId="2420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4052440105" sldId="2429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3920165038" sldId="2431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1004559465" sldId="2432"/>
        </pc:sldMkLst>
      </pc:sldChg>
      <pc:sldChg chg="delSp mod">
        <pc:chgData name="Gao, Tianyun (SI BP AUT EA PROD)" userId="25b3c3cc-5a46-4d03-a516-a1293833cff3" providerId="ADAL" clId="{189F33BE-54A5-4A4B-A8B0-5CFD4CE95B86}" dt="2021-07-27T19:58:15.066" v="21" actId="478"/>
        <pc:sldMkLst>
          <pc:docMk/>
          <pc:sldMk cId="2020720954" sldId="2437"/>
        </pc:sldMkLst>
        <pc:spChg chg="del">
          <ac:chgData name="Gao, Tianyun (SI BP AUT EA PROD)" userId="25b3c3cc-5a46-4d03-a516-a1293833cff3" providerId="ADAL" clId="{189F33BE-54A5-4A4B-A8B0-5CFD4CE95B86}" dt="2021-07-27T19:58:15.066" v="21" actId="478"/>
          <ac:spMkLst>
            <pc:docMk/>
            <pc:sldMk cId="2020720954" sldId="2437"/>
            <ac:spMk id="16" creationId="{E99D9279-6E3B-4CCF-9810-F267BC6D8C7B}"/>
          </ac:spMkLst>
        </pc:spChg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3063489011" sldId="2439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2857005650" sldId="2450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36792237" sldId="2451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2825329053" sldId="2453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1640971921" sldId="2454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1504632259" sldId="2455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703990873" sldId="2456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4145599229" sldId="2458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883980063" sldId="2459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2771778418" sldId="2461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1060112155" sldId="2462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3980052550" sldId="2463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2464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2465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2466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2467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2468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2469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2470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2471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2472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2473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2474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1146210905" sldId="2475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3584621353" sldId="2476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3362660250" sldId="2477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2253445001" sldId="2478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595621035" sldId="2479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814328118" sldId="2480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2452202270" sldId="2481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858666762" sldId="2482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303393052" sldId="2483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3003288861" sldId="2484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832594008" sldId="2485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1041308441" sldId="2486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2487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2488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2489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2490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2491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2492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0" sldId="2493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4232096457" sldId="2495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2404136697" sldId="2496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1010149303" sldId="2500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3963151481" sldId="2502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4034681120" sldId="2503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0" sldId="2505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2453302244" sldId="2512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2348171477" sldId="2513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3377838418" sldId="2521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130068761" sldId="2523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4211098316" sldId="2527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831819503" sldId="2529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2692371021" sldId="2530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37857769" sldId="2531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1073992634" sldId="2533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4101295354" sldId="2535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755539901" sldId="2537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979859103" sldId="2539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3076480418" sldId="2541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543068732" sldId="2542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3666614304" sldId="2543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745418582" sldId="2546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3552608511" sldId="2549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1468895470" sldId="2552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1930808989" sldId="2553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3395677285" sldId="2555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1320844567" sldId="2556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500407796" sldId="2557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4271857" sldId="2558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3122760018" sldId="2559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1480321109" sldId="2560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4241341556" sldId="2561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4214621097" sldId="2563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1465483980" sldId="2564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1794987599" sldId="2565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3026962512" sldId="2566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2815062650" sldId="2567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1162615204" sldId="2568"/>
        </pc:sldMkLst>
      </pc:sldChg>
      <pc:sldChg chg="del">
        <pc:chgData name="Gao, Tianyun (SI BP AUT EA PROD)" userId="25b3c3cc-5a46-4d03-a516-a1293833cff3" providerId="ADAL" clId="{189F33BE-54A5-4A4B-A8B0-5CFD4CE95B86}" dt="2021-07-27T20:01:34.911" v="25" actId="47"/>
        <pc:sldMkLst>
          <pc:docMk/>
          <pc:sldMk cId="2878704115" sldId="2569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3203205302" sldId="2570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710196458" sldId="2573"/>
        </pc:sldMkLst>
      </pc:sldChg>
      <pc:sldChg chg="del">
        <pc:chgData name="Gao, Tianyun (SI BP AUT EA PROD)" userId="25b3c3cc-5a46-4d03-a516-a1293833cff3" providerId="ADAL" clId="{189F33BE-54A5-4A4B-A8B0-5CFD4CE95B86}" dt="2021-07-27T20:00:38.784" v="23" actId="47"/>
        <pc:sldMkLst>
          <pc:docMk/>
          <pc:sldMk cId="740471923" sldId="2575"/>
        </pc:sldMkLst>
      </pc:sldChg>
      <pc:sldChg chg="delSp modSp mod">
        <pc:chgData name="Gao, Tianyun (SI BP AUT EA PROD)" userId="25b3c3cc-5a46-4d03-a516-a1293833cff3" providerId="ADAL" clId="{189F33BE-54A5-4A4B-A8B0-5CFD4CE95B86}" dt="2021-07-27T19:40:16.276" v="18" actId="1076"/>
        <pc:sldMkLst>
          <pc:docMk/>
          <pc:sldMk cId="218520005" sldId="2576"/>
        </pc:sldMkLst>
        <pc:spChg chg="del">
          <ac:chgData name="Gao, Tianyun (SI BP AUT EA PROD)" userId="25b3c3cc-5a46-4d03-a516-a1293833cff3" providerId="ADAL" clId="{189F33BE-54A5-4A4B-A8B0-5CFD4CE95B86}" dt="2021-07-27T19:40:03.381" v="17" actId="478"/>
          <ac:spMkLst>
            <pc:docMk/>
            <pc:sldMk cId="218520005" sldId="2576"/>
            <ac:spMk id="4" creationId="{27F415B5-B89D-43C5-82FE-486FDB760CC1}"/>
          </ac:spMkLst>
        </pc:spChg>
        <pc:picChg chg="mod">
          <ac:chgData name="Gao, Tianyun (SI BP AUT EA PROD)" userId="25b3c3cc-5a46-4d03-a516-a1293833cff3" providerId="ADAL" clId="{189F33BE-54A5-4A4B-A8B0-5CFD4CE95B86}" dt="2021-07-27T19:40:16.276" v="18" actId="1076"/>
          <ac:picMkLst>
            <pc:docMk/>
            <pc:sldMk cId="218520005" sldId="2576"/>
            <ac:picMk id="276" creationId="{2F99B504-38C4-40EE-9077-41824EAFAEAF}"/>
          </ac:picMkLst>
        </pc:picChg>
      </pc:sldChg>
      <pc:sldChg chg="delSp modSp mod">
        <pc:chgData name="Gao, Tianyun (SI BP AUT EA PROD)" userId="25b3c3cc-5a46-4d03-a516-a1293833cff3" providerId="ADAL" clId="{189F33BE-54A5-4A4B-A8B0-5CFD4CE95B86}" dt="2021-07-27T19:56:22.098" v="20" actId="166"/>
        <pc:sldMkLst>
          <pc:docMk/>
          <pc:sldMk cId="3458297983" sldId="2578"/>
        </pc:sldMkLst>
        <pc:spChg chg="del">
          <ac:chgData name="Gao, Tianyun (SI BP AUT EA PROD)" userId="25b3c3cc-5a46-4d03-a516-a1293833cff3" providerId="ADAL" clId="{189F33BE-54A5-4A4B-A8B0-5CFD4CE95B86}" dt="2021-07-27T19:56:16.662" v="19" actId="478"/>
          <ac:spMkLst>
            <pc:docMk/>
            <pc:sldMk cId="3458297983" sldId="2578"/>
            <ac:spMk id="46" creationId="{6F14EF66-619F-4A2A-B9ED-D673960D7B57}"/>
          </ac:spMkLst>
        </pc:spChg>
        <pc:picChg chg="ord">
          <ac:chgData name="Gao, Tianyun (SI BP AUT EA PROD)" userId="25b3c3cc-5a46-4d03-a516-a1293833cff3" providerId="ADAL" clId="{189F33BE-54A5-4A4B-A8B0-5CFD4CE95B86}" dt="2021-07-27T19:56:22.098" v="20" actId="166"/>
          <ac:picMkLst>
            <pc:docMk/>
            <pc:sldMk cId="3458297983" sldId="2578"/>
            <ac:picMk id="11" creationId="{403987F8-9ADF-4DD3-BFA5-DE37FD0F062E}"/>
          </ac:picMkLst>
        </pc:picChg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1582216341" sldId="2580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2389844200" sldId="2582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1402478112" sldId="2583"/>
        </pc:sldMkLst>
      </pc:sldChg>
      <pc:sldChg chg="del">
        <pc:chgData name="Gao, Tianyun (SI BP AUT EA PROD)" userId="25b3c3cc-5a46-4d03-a516-a1293833cff3" providerId="ADAL" clId="{189F33BE-54A5-4A4B-A8B0-5CFD4CE95B86}" dt="2021-07-27T20:01:23.396" v="24" actId="47"/>
        <pc:sldMkLst>
          <pc:docMk/>
          <pc:sldMk cId="342781692" sldId="2586"/>
        </pc:sldMkLst>
      </pc:sldChg>
      <pc:sldChg chg="add del">
        <pc:chgData name="Gao, Tianyun (SI BP AUT EA PROD)" userId="25b3c3cc-5a46-4d03-a516-a1293833cff3" providerId="ADAL" clId="{189F33BE-54A5-4A4B-A8B0-5CFD4CE95B86}" dt="2021-07-22T12:55:53.308" v="1" actId="47"/>
        <pc:sldMkLst>
          <pc:docMk/>
          <pc:sldMk cId="84068633" sldId="2587"/>
        </pc:sldMkLst>
      </pc:sldChg>
      <pc:sldChg chg="add del">
        <pc:chgData name="Gao, Tianyun (SI BP AUT EA PROD)" userId="25b3c3cc-5a46-4d03-a516-a1293833cff3" providerId="ADAL" clId="{189F33BE-54A5-4A4B-A8B0-5CFD4CE95B86}" dt="2021-07-27T19:38:23.782" v="4" actId="47"/>
        <pc:sldMkLst>
          <pc:docMk/>
          <pc:sldMk cId="3875691070" sldId="2587"/>
        </pc:sldMkLst>
      </pc:sldChg>
      <pc:sldChg chg="modSp add mod">
        <pc:chgData name="Gao, Tianyun (SI BP AUT EA PROD)" userId="25b3c3cc-5a46-4d03-a516-a1293833cff3" providerId="ADAL" clId="{189F33BE-54A5-4A4B-A8B0-5CFD4CE95B86}" dt="2021-07-27T19:39:32.516" v="16" actId="20577"/>
        <pc:sldMkLst>
          <pc:docMk/>
          <pc:sldMk cId="1056529729" sldId="2588"/>
        </pc:sldMkLst>
        <pc:spChg chg="mod">
          <ac:chgData name="Gao, Tianyun (SI BP AUT EA PROD)" userId="25b3c3cc-5a46-4d03-a516-a1293833cff3" providerId="ADAL" clId="{189F33BE-54A5-4A4B-A8B0-5CFD4CE95B86}" dt="2021-07-27T19:39:32.516" v="16" actId="20577"/>
          <ac:spMkLst>
            <pc:docMk/>
            <pc:sldMk cId="1056529729" sldId="2588"/>
            <ac:spMk id="41" creationId="{B4C37A5A-F98A-4E40-9DA3-A99170117D7A}"/>
          </ac:spMkLst>
        </pc:spChg>
      </pc:sldChg>
      <pc:sldMasterChg chg="delSldLayout">
        <pc:chgData name="Gao, Tianyun (SI BP AUT EA PROD)" userId="25b3c3cc-5a46-4d03-a516-a1293833cff3" providerId="ADAL" clId="{189F33BE-54A5-4A4B-A8B0-5CFD4CE95B86}" dt="2021-07-27T20:01:34.911" v="25" actId="47"/>
        <pc:sldMasterMkLst>
          <pc:docMk/>
          <pc:sldMasterMk cId="0" sldId="2147483669"/>
        </pc:sldMasterMkLst>
        <pc:sldLayoutChg chg="del">
          <pc:chgData name="Gao, Tianyun (SI BP AUT EA PROD)" userId="25b3c3cc-5a46-4d03-a516-a1293833cff3" providerId="ADAL" clId="{189F33BE-54A5-4A4B-A8B0-5CFD4CE95B86}" dt="2021-07-27T20:01:34.911" v="25" actId="47"/>
          <pc:sldLayoutMkLst>
            <pc:docMk/>
            <pc:sldMasterMk cId="0" sldId="2147483669"/>
            <pc:sldLayoutMk cId="2472471974" sldId="2147483696"/>
          </pc:sldLayoutMkLst>
        </pc:sldLayoutChg>
        <pc:sldLayoutChg chg="del">
          <pc:chgData name="Gao, Tianyun (SI BP AUT EA PROD)" userId="25b3c3cc-5a46-4d03-a516-a1293833cff3" providerId="ADAL" clId="{189F33BE-54A5-4A4B-A8B0-5CFD4CE95B86}" dt="2021-07-27T20:01:34.911" v="25" actId="47"/>
          <pc:sldLayoutMkLst>
            <pc:docMk/>
            <pc:sldMasterMk cId="0" sldId="2147483669"/>
            <pc:sldLayoutMk cId="1461486420" sldId="2147483698"/>
          </pc:sldLayoutMkLst>
        </pc:sldLayoutChg>
        <pc:sldLayoutChg chg="del">
          <pc:chgData name="Gao, Tianyun (SI BP AUT EA PROD)" userId="25b3c3cc-5a46-4d03-a516-a1293833cff3" providerId="ADAL" clId="{189F33BE-54A5-4A4B-A8B0-5CFD4CE95B86}" dt="2021-07-27T20:01:23.396" v="24" actId="47"/>
          <pc:sldLayoutMkLst>
            <pc:docMk/>
            <pc:sldMasterMk cId="0" sldId="2147483669"/>
            <pc:sldLayoutMk cId="3315154819" sldId="2147483700"/>
          </pc:sldLayoutMkLst>
        </pc:sldLayoutChg>
        <pc:sldLayoutChg chg="del">
          <pc:chgData name="Gao, Tianyun (SI BP AUT EA PROD)" userId="25b3c3cc-5a46-4d03-a516-a1293833cff3" providerId="ADAL" clId="{189F33BE-54A5-4A4B-A8B0-5CFD4CE95B86}" dt="2021-07-27T20:01:23.396" v="24" actId="47"/>
          <pc:sldLayoutMkLst>
            <pc:docMk/>
            <pc:sldMasterMk cId="0" sldId="2147483669"/>
            <pc:sldLayoutMk cId="957075249" sldId="2147483701"/>
          </pc:sldLayoutMkLst>
        </pc:sldLayoutChg>
        <pc:sldLayoutChg chg="del">
          <pc:chgData name="Gao, Tianyun (SI BP AUT EA PROD)" userId="25b3c3cc-5a46-4d03-a516-a1293833cff3" providerId="ADAL" clId="{189F33BE-54A5-4A4B-A8B0-5CFD4CE95B86}" dt="2021-07-27T20:01:34.911" v="25" actId="47"/>
          <pc:sldLayoutMkLst>
            <pc:docMk/>
            <pc:sldMasterMk cId="0" sldId="2147483669"/>
            <pc:sldLayoutMk cId="421941292" sldId="2147483702"/>
          </pc:sldLayoutMkLst>
        </pc:sldLayoutChg>
      </pc:sldMasterChg>
    </pc:docChg>
  </pc:docChgLst>
  <pc:docChgLst>
    <pc:chgData name="Müller, Kurt (SI BP S&amp;C CS&amp;TR TR)" userId="e7e82c7e-80c6-42a5-ab71-24588885b7fe" providerId="ADAL" clId="{9A68D976-6B27-41CF-A773-96FB881042A0}"/>
    <pc:docChg chg="undo custSel addSld modSld">
      <pc:chgData name="Müller, Kurt (SI BP S&amp;C CS&amp;TR TR)" userId="e7e82c7e-80c6-42a5-ab71-24588885b7fe" providerId="ADAL" clId="{9A68D976-6B27-41CF-A773-96FB881042A0}" dt="2021-03-24T18:58:06.463" v="259" actId="14734"/>
      <pc:docMkLst>
        <pc:docMk/>
      </pc:docMkLst>
      <pc:sldChg chg="modSp mod">
        <pc:chgData name="Müller, Kurt (SI BP S&amp;C CS&amp;TR TR)" userId="e7e82c7e-80c6-42a5-ab71-24588885b7fe" providerId="ADAL" clId="{9A68D976-6B27-41CF-A773-96FB881042A0}" dt="2021-03-24T18:06:33.587" v="11" actId="1076"/>
        <pc:sldMkLst>
          <pc:docMk/>
          <pc:sldMk cId="627141999" sldId="2389"/>
        </pc:sldMkLst>
        <pc:spChg chg="mod">
          <ac:chgData name="Müller, Kurt (SI BP S&amp;C CS&amp;TR TR)" userId="e7e82c7e-80c6-42a5-ab71-24588885b7fe" providerId="ADAL" clId="{9A68D976-6B27-41CF-A773-96FB881042A0}" dt="2021-03-24T18:06:33.587" v="11" actId="1076"/>
          <ac:spMkLst>
            <pc:docMk/>
            <pc:sldMk cId="627141999" sldId="2389"/>
            <ac:spMk id="2" creationId="{A3A340E7-F2AC-49F5-95D7-76AEC088FB42}"/>
          </ac:spMkLst>
        </pc:spChg>
        <pc:spChg chg="mod">
          <ac:chgData name="Müller, Kurt (SI BP S&amp;C CS&amp;TR TR)" userId="e7e82c7e-80c6-42a5-ab71-24588885b7fe" providerId="ADAL" clId="{9A68D976-6B27-41CF-A773-96FB881042A0}" dt="2021-03-24T18:06:31.711" v="10" actId="1076"/>
          <ac:spMkLst>
            <pc:docMk/>
            <pc:sldMk cId="627141999" sldId="2389"/>
            <ac:spMk id="83" creationId="{DC9395C4-B05A-47BF-A5E9-6ED9A5703C90}"/>
          </ac:spMkLst>
        </pc:spChg>
        <pc:spChg chg="mod">
          <ac:chgData name="Müller, Kurt (SI BP S&amp;C CS&amp;TR TR)" userId="e7e82c7e-80c6-42a5-ab71-24588885b7fe" providerId="ADAL" clId="{9A68D976-6B27-41CF-A773-96FB881042A0}" dt="2021-03-24T18:06:12.542" v="6" actId="1076"/>
          <ac:spMkLst>
            <pc:docMk/>
            <pc:sldMk cId="627141999" sldId="2389"/>
            <ac:spMk id="427" creationId="{5268E09B-EE08-4AF3-9C31-89F0FD9C9F0A}"/>
          </ac:spMkLst>
        </pc:spChg>
        <pc:spChg chg="mod">
          <ac:chgData name="Müller, Kurt (SI BP S&amp;C CS&amp;TR TR)" userId="e7e82c7e-80c6-42a5-ab71-24588885b7fe" providerId="ADAL" clId="{9A68D976-6B27-41CF-A773-96FB881042A0}" dt="2021-03-24T18:06:17.214" v="7" actId="1076"/>
          <ac:spMkLst>
            <pc:docMk/>
            <pc:sldMk cId="627141999" sldId="2389"/>
            <ac:spMk id="460" creationId="{5D251EA0-E31A-4F86-995A-967C431DB5C6}"/>
          </ac:spMkLst>
        </pc:spChg>
        <pc:grpChg chg="mod">
          <ac:chgData name="Müller, Kurt (SI BP S&amp;C CS&amp;TR TR)" userId="e7e82c7e-80c6-42a5-ab71-24588885b7fe" providerId="ADAL" clId="{9A68D976-6B27-41CF-A773-96FB881042A0}" dt="2021-03-24T18:06:24.837" v="9" actId="14100"/>
          <ac:grpSpMkLst>
            <pc:docMk/>
            <pc:sldMk cId="627141999" sldId="2389"/>
            <ac:grpSpMk id="50" creationId="{673BBA04-5FB5-4630-AE6E-E8D7FDD67962}"/>
          </ac:grpSpMkLst>
        </pc:grpChg>
        <pc:picChg chg="mod">
          <ac:chgData name="Müller, Kurt (SI BP S&amp;C CS&amp;TR TR)" userId="e7e82c7e-80c6-42a5-ab71-24588885b7fe" providerId="ADAL" clId="{9A68D976-6B27-41CF-A773-96FB881042A0}" dt="2021-03-24T18:06:24.837" v="9" actId="14100"/>
          <ac:picMkLst>
            <pc:docMk/>
            <pc:sldMk cId="627141999" sldId="2389"/>
            <ac:picMk id="82" creationId="{99F296A2-AB72-4DA0-B639-3B3C6F1686DC}"/>
          </ac:picMkLst>
        </pc:picChg>
        <pc:cxnChg chg="mod">
          <ac:chgData name="Müller, Kurt (SI BP S&amp;C CS&amp;TR TR)" userId="e7e82c7e-80c6-42a5-ab71-24588885b7fe" providerId="ADAL" clId="{9A68D976-6B27-41CF-A773-96FB881042A0}" dt="2021-03-24T18:06:24.837" v="9" actId="14100"/>
          <ac:cxnSpMkLst>
            <pc:docMk/>
            <pc:sldMk cId="627141999" sldId="2389"/>
            <ac:cxnSpMk id="81" creationId="{19C41384-A955-4183-9862-1F23C005AC5C}"/>
          </ac:cxnSpMkLst>
        </pc:cxnChg>
        <pc:cxnChg chg="mod">
          <ac:chgData name="Müller, Kurt (SI BP S&amp;C CS&amp;TR TR)" userId="e7e82c7e-80c6-42a5-ab71-24588885b7fe" providerId="ADAL" clId="{9A68D976-6B27-41CF-A773-96FB881042A0}" dt="2021-03-24T18:05:47.240" v="0" actId="1076"/>
          <ac:cxnSpMkLst>
            <pc:docMk/>
            <pc:sldMk cId="627141999" sldId="2389"/>
            <ac:cxnSpMk id="431" creationId="{94D88AAD-A0E4-4B9E-8033-8CAA88513CDB}"/>
          </ac:cxnSpMkLst>
        </pc:cxnChg>
      </pc:sldChg>
      <pc:sldChg chg="addSp modSp mod modAnim">
        <pc:chgData name="Müller, Kurt (SI BP S&amp;C CS&amp;TR TR)" userId="e7e82c7e-80c6-42a5-ab71-24588885b7fe" providerId="ADAL" clId="{9A68D976-6B27-41CF-A773-96FB881042A0}" dt="2021-03-24T18:15:47.785" v="69"/>
        <pc:sldMkLst>
          <pc:docMk/>
          <pc:sldMk cId="4211098316" sldId="2527"/>
        </pc:sldMkLst>
        <pc:spChg chg="mod">
          <ac:chgData name="Müller, Kurt (SI BP S&amp;C CS&amp;TR TR)" userId="e7e82c7e-80c6-42a5-ab71-24588885b7fe" providerId="ADAL" clId="{9A68D976-6B27-41CF-A773-96FB881042A0}" dt="2021-03-24T18:15:33.837" v="66" actId="14100"/>
          <ac:spMkLst>
            <pc:docMk/>
            <pc:sldMk cId="4211098316" sldId="2527"/>
            <ac:spMk id="250" creationId="{9BD693E4-C165-4111-8BA8-D70EFB283936}"/>
          </ac:spMkLst>
        </pc:spChg>
        <pc:spChg chg="add mod">
          <ac:chgData name="Müller, Kurt (SI BP S&amp;C CS&amp;TR TR)" userId="e7e82c7e-80c6-42a5-ab71-24588885b7fe" providerId="ADAL" clId="{9A68D976-6B27-41CF-A773-96FB881042A0}" dt="2021-03-24T18:15:38.349" v="68" actId="14100"/>
          <ac:spMkLst>
            <pc:docMk/>
            <pc:sldMk cId="4211098316" sldId="2527"/>
            <ac:spMk id="264" creationId="{5D3FF9C7-DE0B-472A-AD5A-64282F9B4E58}"/>
          </ac:spMkLst>
        </pc:spChg>
      </pc:sldChg>
      <pc:sldChg chg="addSp delSp modSp mod delAnim modAnim">
        <pc:chgData name="Müller, Kurt (SI BP S&amp;C CS&amp;TR TR)" userId="e7e82c7e-80c6-42a5-ab71-24588885b7fe" providerId="ADAL" clId="{9A68D976-6B27-41CF-A773-96FB881042A0}" dt="2021-03-24T18:14:01.390" v="58" actId="1076"/>
        <pc:sldMkLst>
          <pc:docMk/>
          <pc:sldMk cId="3395677285" sldId="2555"/>
        </pc:sldMkLst>
        <pc:spChg chg="mod">
          <ac:chgData name="Müller, Kurt (SI BP S&amp;C CS&amp;TR TR)" userId="e7e82c7e-80c6-42a5-ab71-24588885b7fe" providerId="ADAL" clId="{9A68D976-6B27-41CF-A773-96FB881042A0}" dt="2021-03-24T18:12:29.703" v="45" actId="14100"/>
          <ac:spMkLst>
            <pc:docMk/>
            <pc:sldMk cId="3395677285" sldId="2555"/>
            <ac:spMk id="92" creationId="{9CFBEAFE-16A9-4E43-A9AF-046EE004E582}"/>
          </ac:spMkLst>
        </pc:spChg>
        <pc:spChg chg="mod">
          <ac:chgData name="Müller, Kurt (SI BP S&amp;C CS&amp;TR TR)" userId="e7e82c7e-80c6-42a5-ab71-24588885b7fe" providerId="ADAL" clId="{9A68D976-6B27-41CF-A773-96FB881042A0}" dt="2021-03-24T18:13:54.637" v="56" actId="14100"/>
          <ac:spMkLst>
            <pc:docMk/>
            <pc:sldMk cId="3395677285" sldId="2555"/>
            <ac:spMk id="146" creationId="{16587747-ACFF-4229-92C1-5B4B6199AE75}"/>
          </ac:spMkLst>
        </pc:spChg>
        <pc:grpChg chg="del">
          <ac:chgData name="Müller, Kurt (SI BP S&amp;C CS&amp;TR TR)" userId="e7e82c7e-80c6-42a5-ab71-24588885b7fe" providerId="ADAL" clId="{9A68D976-6B27-41CF-A773-96FB881042A0}" dt="2021-03-24T18:11:50.909" v="32" actId="478"/>
          <ac:grpSpMkLst>
            <pc:docMk/>
            <pc:sldMk cId="3395677285" sldId="2555"/>
            <ac:grpSpMk id="93" creationId="{A9C7ECD7-DCF8-44F6-AB9E-C4F79AF9989D}"/>
          </ac:grpSpMkLst>
        </pc:grpChg>
        <pc:grpChg chg="mod">
          <ac:chgData name="Müller, Kurt (SI BP S&amp;C CS&amp;TR TR)" userId="e7e82c7e-80c6-42a5-ab71-24588885b7fe" providerId="ADAL" clId="{9A68D976-6B27-41CF-A773-96FB881042A0}" dt="2021-03-24T18:13:54.637" v="56" actId="14100"/>
          <ac:grpSpMkLst>
            <pc:docMk/>
            <pc:sldMk cId="3395677285" sldId="2555"/>
            <ac:grpSpMk id="144" creationId="{39A5A16C-8EE3-4146-ADED-81F358E8C5A0}"/>
          </ac:grpSpMkLst>
        </pc:grpChg>
        <pc:grpChg chg="del">
          <ac:chgData name="Müller, Kurt (SI BP S&amp;C CS&amp;TR TR)" userId="e7e82c7e-80c6-42a5-ab71-24588885b7fe" providerId="ADAL" clId="{9A68D976-6B27-41CF-A773-96FB881042A0}" dt="2021-03-24T18:11:52.420" v="33" actId="478"/>
          <ac:grpSpMkLst>
            <pc:docMk/>
            <pc:sldMk cId="3395677285" sldId="2555"/>
            <ac:grpSpMk id="162" creationId="{43D00826-E34C-4891-9AC1-A014197E68BC}"/>
          </ac:grpSpMkLst>
        </pc:grpChg>
        <pc:picChg chg="add mod">
          <ac:chgData name="Müller, Kurt (SI BP S&amp;C CS&amp;TR TR)" userId="e7e82c7e-80c6-42a5-ab71-24588885b7fe" providerId="ADAL" clId="{9A68D976-6B27-41CF-A773-96FB881042A0}" dt="2021-03-24T18:12:34.967" v="47" actId="14100"/>
          <ac:picMkLst>
            <pc:docMk/>
            <pc:sldMk cId="3395677285" sldId="2555"/>
            <ac:picMk id="2" creationId="{29CE2A61-9301-4274-9457-C5FB57B19215}"/>
          </ac:picMkLst>
        </pc:picChg>
        <pc:picChg chg="del">
          <ac:chgData name="Müller, Kurt (SI BP S&amp;C CS&amp;TR TR)" userId="e7e82c7e-80c6-42a5-ab71-24588885b7fe" providerId="ADAL" clId="{9A68D976-6B27-41CF-A773-96FB881042A0}" dt="2021-03-24T18:13:04.924" v="48" actId="478"/>
          <ac:picMkLst>
            <pc:docMk/>
            <pc:sldMk cId="3395677285" sldId="2555"/>
            <ac:picMk id="145" creationId="{FAD6D717-6C07-4D84-9007-6934DCEE1919}"/>
          </ac:picMkLst>
        </pc:picChg>
        <pc:picChg chg="mod">
          <ac:chgData name="Müller, Kurt (SI BP S&amp;C CS&amp;TR TR)" userId="e7e82c7e-80c6-42a5-ab71-24588885b7fe" providerId="ADAL" clId="{9A68D976-6B27-41CF-A773-96FB881042A0}" dt="2021-03-24T18:13:54.637" v="56" actId="14100"/>
          <ac:picMkLst>
            <pc:docMk/>
            <pc:sldMk cId="3395677285" sldId="2555"/>
            <ac:picMk id="147" creationId="{A2A644C0-08DF-433E-A320-FC739D6A0D0E}"/>
          </ac:picMkLst>
        </pc:picChg>
        <pc:picChg chg="add mod modCrop">
          <ac:chgData name="Müller, Kurt (SI BP S&amp;C CS&amp;TR TR)" userId="e7e82c7e-80c6-42a5-ab71-24588885b7fe" providerId="ADAL" clId="{9A68D976-6B27-41CF-A773-96FB881042A0}" dt="2021-03-24T18:14:01.390" v="58" actId="1076"/>
          <ac:picMkLst>
            <pc:docMk/>
            <pc:sldMk cId="3395677285" sldId="2555"/>
            <ac:picMk id="153" creationId="{2A44B6A3-9599-440A-9675-521F4BD92559}"/>
          </ac:picMkLst>
        </pc:picChg>
        <pc:cxnChg chg="mod">
          <ac:chgData name="Müller, Kurt (SI BP S&amp;C CS&amp;TR TR)" userId="e7e82c7e-80c6-42a5-ab71-24588885b7fe" providerId="ADAL" clId="{9A68D976-6B27-41CF-A773-96FB881042A0}" dt="2021-03-24T18:12:15.031" v="40" actId="14100"/>
          <ac:cxnSpMkLst>
            <pc:docMk/>
            <pc:sldMk cId="3395677285" sldId="2555"/>
            <ac:cxnSpMk id="84" creationId="{E37DA4CB-E738-4BD4-B511-23977B11E6F2}"/>
          </ac:cxnSpMkLst>
        </pc:cxnChg>
        <pc:cxnChg chg="mod">
          <ac:chgData name="Müller, Kurt (SI BP S&amp;C CS&amp;TR TR)" userId="e7e82c7e-80c6-42a5-ab71-24588885b7fe" providerId="ADAL" clId="{9A68D976-6B27-41CF-A773-96FB881042A0}" dt="2021-03-24T18:12:19.264" v="41" actId="1076"/>
          <ac:cxnSpMkLst>
            <pc:docMk/>
            <pc:sldMk cId="3395677285" sldId="2555"/>
            <ac:cxnSpMk id="89" creationId="{154F0960-4834-4B25-9DB1-E85AF5DDA62E}"/>
          </ac:cxnSpMkLst>
        </pc:cxnChg>
      </pc:sldChg>
      <pc:sldChg chg="modSp mod">
        <pc:chgData name="Müller, Kurt (SI BP S&amp;C CS&amp;TR TR)" userId="e7e82c7e-80c6-42a5-ab71-24588885b7fe" providerId="ADAL" clId="{9A68D976-6B27-41CF-A773-96FB881042A0}" dt="2021-03-24T18:18:54.101" v="70" actId="1076"/>
        <pc:sldMkLst>
          <pc:docMk/>
          <pc:sldMk cId="4214621097" sldId="2563"/>
        </pc:sldMkLst>
        <pc:picChg chg="mod">
          <ac:chgData name="Müller, Kurt (SI BP S&amp;C CS&amp;TR TR)" userId="e7e82c7e-80c6-42a5-ab71-24588885b7fe" providerId="ADAL" clId="{9A68D976-6B27-41CF-A773-96FB881042A0}" dt="2021-03-24T18:18:54.101" v="70" actId="1076"/>
          <ac:picMkLst>
            <pc:docMk/>
            <pc:sldMk cId="4214621097" sldId="2563"/>
            <ac:picMk id="3" creationId="{8C50B102-354D-4DD9-AB9C-39BDFD64BDA8}"/>
          </ac:picMkLst>
        </pc:picChg>
      </pc:sldChg>
      <pc:sldChg chg="delSp modSp mod">
        <pc:chgData name="Müller, Kurt (SI BP S&amp;C CS&amp;TR TR)" userId="e7e82c7e-80c6-42a5-ab71-24588885b7fe" providerId="ADAL" clId="{9A68D976-6B27-41CF-A773-96FB881042A0}" dt="2021-03-24T18:55:20.950" v="132" actId="478"/>
        <pc:sldMkLst>
          <pc:docMk/>
          <pc:sldMk cId="3026962512" sldId="2566"/>
        </pc:sldMkLst>
        <pc:spChg chg="del">
          <ac:chgData name="Müller, Kurt (SI BP S&amp;C CS&amp;TR TR)" userId="e7e82c7e-80c6-42a5-ab71-24588885b7fe" providerId="ADAL" clId="{9A68D976-6B27-41CF-A773-96FB881042A0}" dt="2021-03-24T18:55:20.950" v="132" actId="478"/>
          <ac:spMkLst>
            <pc:docMk/>
            <pc:sldMk cId="3026962512" sldId="2566"/>
            <ac:spMk id="46" creationId="{12EE9C2A-7AF3-4376-A34F-F8106C3E30CA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11" creationId="{D9F24C8F-2E07-4E3D-8919-EFAEBC1AEABF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13" creationId="{77B17012-937A-49BE-AFEC-502C19805FAE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14" creationId="{104E8B6C-63C7-4852-AA34-2B34E7CC78B6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15" creationId="{48CC50CA-93BF-41D1-A0BF-C297DCBCB6ED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16" creationId="{D6741012-2B0C-493A-8520-A962F18DD625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20" creationId="{8555CEE3-AC6B-4B8D-8510-9F0E93BD2563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21" creationId="{DA8E18FD-A778-487F-8CBB-89F37754C0CF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22" creationId="{73A28762-252C-4E06-B4D2-C39F9760D7E1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23" creationId="{5166BCD8-2366-4FA8-93F0-A427ACA04300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24" creationId="{A7F0E469-31DB-4A43-BC63-5FBD5D465214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25" creationId="{ABE6A146-7E41-4BC7-8FC2-DBE9233F944E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26" creationId="{E4D87E98-3CC3-4E52-A819-4992A6565B97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27" creationId="{DA0FA4A8-7556-4671-BEB3-032708B44841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28" creationId="{A872384F-42BC-4101-BBAB-11CA1E8F9C4F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31" creationId="{7E1DF0E8-0E16-4E64-9C6C-C4B9543F3C3B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33" creationId="{291440DF-5D4D-4F1E-8F46-20FC3BB8FC90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34" creationId="{FC371741-A4B2-4BAA-AA94-6C463167F4ED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35" creationId="{2F382763-F22D-4C66-9AB1-1543F5681BCF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36" creationId="{D305D805-3B8B-4A0D-ACEA-C5075B5E09CD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40" creationId="{32E1768E-5235-4B7F-ABF5-1F16BBB3643C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41" creationId="{1733F00B-7E9A-4598-99EC-4D4AAEE87C75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42" creationId="{A455A99E-92BC-4CA8-BE64-FDB78F58109D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43" creationId="{0811D752-E1AC-4B90-B003-46F74247D479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44" creationId="{24A6C3C6-0C7E-4D82-820D-52FC8DD56CC0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45" creationId="{0A6A1738-9884-4017-8007-1A721FE7DBB3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46" creationId="{445A1DA7-D555-48E0-979A-98F99D527974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47" creationId="{103029F7-4593-43D5-8750-A4333F46AF0E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48" creationId="{A9CCAF45-E143-42FF-ADAE-7AAB4438C39E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51" creationId="{F51E3DA9-8DC2-4CAB-B29C-3463046078A7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53" creationId="{F677CB0C-8058-4A4F-A931-0A5A2E9B6EFE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54" creationId="{CE179DBB-2E1D-4940-8DD2-9917ADD5485B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55" creationId="{F459E822-F99D-4884-AF74-DCF50146F66B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56" creationId="{0F77FB6B-7A69-4727-A0EC-240EB7A45A11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60" creationId="{87854372-957F-44C9-A9D2-E75C627DE531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61" creationId="{ACA15871-8094-48D7-BD73-B76D6322DC3E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62" creationId="{F7D3F97B-3DA1-454B-B668-C437451E91C0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63" creationId="{A2943DF6-68E7-4213-BB0A-87889F7C65A3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64" creationId="{B69D6E90-FBE9-4C42-B25B-653402904B48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65" creationId="{B04950B5-EF81-46F6-BCF6-750E192EA591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66" creationId="{7A795898-1660-4C3D-B98D-9B4CE8FBBF68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67" creationId="{A5D12CFF-B44D-411E-A534-CAB45BB2525A}"/>
          </ac:spMkLst>
        </pc:spChg>
        <pc:spChg chg="mod">
          <ac:chgData name="Müller, Kurt (SI BP S&amp;C CS&amp;TR TR)" userId="e7e82c7e-80c6-42a5-ab71-24588885b7fe" providerId="ADAL" clId="{9A68D976-6B27-41CF-A773-96FB881042A0}" dt="2021-03-24T18:20:00.882" v="76" actId="1036"/>
          <ac:spMkLst>
            <pc:docMk/>
            <pc:sldMk cId="3026962512" sldId="2566"/>
            <ac:spMk id="368" creationId="{F1829F94-AA22-432A-8A1D-8366BC042BB9}"/>
          </ac:spMkLst>
        </pc:spChg>
        <pc:grpChg chg="mod">
          <ac:chgData name="Müller, Kurt (SI BP S&amp;C CS&amp;TR TR)" userId="e7e82c7e-80c6-42a5-ab71-24588885b7fe" providerId="ADAL" clId="{9A68D976-6B27-41CF-A773-96FB881042A0}" dt="2021-03-24T18:20:00.882" v="76" actId="1036"/>
          <ac:grpSpMkLst>
            <pc:docMk/>
            <pc:sldMk cId="3026962512" sldId="2566"/>
            <ac:grpSpMk id="309" creationId="{8EFE7874-D127-4682-A3E8-286A78D67C43}"/>
          </ac:grpSpMkLst>
        </pc:grpChg>
        <pc:grpChg chg="mod">
          <ac:chgData name="Müller, Kurt (SI BP S&amp;C CS&amp;TR TR)" userId="e7e82c7e-80c6-42a5-ab71-24588885b7fe" providerId="ADAL" clId="{9A68D976-6B27-41CF-A773-96FB881042A0}" dt="2021-03-24T18:20:00.882" v="76" actId="1036"/>
          <ac:grpSpMkLst>
            <pc:docMk/>
            <pc:sldMk cId="3026962512" sldId="2566"/>
            <ac:grpSpMk id="310" creationId="{0493FAEA-331C-4CEA-BD37-38EB1915B7D6}"/>
          </ac:grpSpMkLst>
        </pc:grpChg>
        <pc:grpChg chg="mod">
          <ac:chgData name="Müller, Kurt (SI BP S&amp;C CS&amp;TR TR)" userId="e7e82c7e-80c6-42a5-ab71-24588885b7fe" providerId="ADAL" clId="{9A68D976-6B27-41CF-A773-96FB881042A0}" dt="2021-03-24T18:20:00.882" v="76" actId="1036"/>
          <ac:grpSpMkLst>
            <pc:docMk/>
            <pc:sldMk cId="3026962512" sldId="2566"/>
            <ac:grpSpMk id="312" creationId="{721DE9B5-9B11-4609-99BC-0E73D80A5734}"/>
          </ac:grpSpMkLst>
        </pc:grpChg>
        <pc:grpChg chg="mod">
          <ac:chgData name="Müller, Kurt (SI BP S&amp;C CS&amp;TR TR)" userId="e7e82c7e-80c6-42a5-ab71-24588885b7fe" providerId="ADAL" clId="{9A68D976-6B27-41CF-A773-96FB881042A0}" dt="2021-03-24T18:20:00.882" v="76" actId="1036"/>
          <ac:grpSpMkLst>
            <pc:docMk/>
            <pc:sldMk cId="3026962512" sldId="2566"/>
            <ac:grpSpMk id="329" creationId="{F06DA6F1-0CC6-43CA-A643-4C408E3AB3F2}"/>
          </ac:grpSpMkLst>
        </pc:grpChg>
        <pc:grpChg chg="mod">
          <ac:chgData name="Müller, Kurt (SI BP S&amp;C CS&amp;TR TR)" userId="e7e82c7e-80c6-42a5-ab71-24588885b7fe" providerId="ADAL" clId="{9A68D976-6B27-41CF-A773-96FB881042A0}" dt="2021-03-24T18:20:00.882" v="76" actId="1036"/>
          <ac:grpSpMkLst>
            <pc:docMk/>
            <pc:sldMk cId="3026962512" sldId="2566"/>
            <ac:grpSpMk id="330" creationId="{0F61AFE8-4951-481A-9EA1-47972153D0D8}"/>
          </ac:grpSpMkLst>
        </pc:grpChg>
        <pc:grpChg chg="mod">
          <ac:chgData name="Müller, Kurt (SI BP S&amp;C CS&amp;TR TR)" userId="e7e82c7e-80c6-42a5-ab71-24588885b7fe" providerId="ADAL" clId="{9A68D976-6B27-41CF-A773-96FB881042A0}" dt="2021-03-24T18:20:00.882" v="76" actId="1036"/>
          <ac:grpSpMkLst>
            <pc:docMk/>
            <pc:sldMk cId="3026962512" sldId="2566"/>
            <ac:grpSpMk id="332" creationId="{A41E2253-247E-481B-BF39-E1B078160B08}"/>
          </ac:grpSpMkLst>
        </pc:grpChg>
        <pc:grpChg chg="mod">
          <ac:chgData name="Müller, Kurt (SI BP S&amp;C CS&amp;TR TR)" userId="e7e82c7e-80c6-42a5-ab71-24588885b7fe" providerId="ADAL" clId="{9A68D976-6B27-41CF-A773-96FB881042A0}" dt="2021-03-24T18:20:00.882" v="76" actId="1036"/>
          <ac:grpSpMkLst>
            <pc:docMk/>
            <pc:sldMk cId="3026962512" sldId="2566"/>
            <ac:grpSpMk id="349" creationId="{ABFFAEB1-16FF-4C66-8DF3-7CF4E8781778}"/>
          </ac:grpSpMkLst>
        </pc:grpChg>
        <pc:grpChg chg="mod">
          <ac:chgData name="Müller, Kurt (SI BP S&amp;C CS&amp;TR TR)" userId="e7e82c7e-80c6-42a5-ab71-24588885b7fe" providerId="ADAL" clId="{9A68D976-6B27-41CF-A773-96FB881042A0}" dt="2021-03-24T18:20:00.882" v="76" actId="1036"/>
          <ac:grpSpMkLst>
            <pc:docMk/>
            <pc:sldMk cId="3026962512" sldId="2566"/>
            <ac:grpSpMk id="350" creationId="{0428C487-F3CD-45ED-8E1D-4C54FD97F43E}"/>
          </ac:grpSpMkLst>
        </pc:grpChg>
        <pc:grpChg chg="mod">
          <ac:chgData name="Müller, Kurt (SI BP S&amp;C CS&amp;TR TR)" userId="e7e82c7e-80c6-42a5-ab71-24588885b7fe" providerId="ADAL" clId="{9A68D976-6B27-41CF-A773-96FB881042A0}" dt="2021-03-24T18:20:00.882" v="76" actId="1036"/>
          <ac:grpSpMkLst>
            <pc:docMk/>
            <pc:sldMk cId="3026962512" sldId="2566"/>
            <ac:grpSpMk id="352" creationId="{20FE736D-B577-4169-95D1-74EFBD062FB0}"/>
          </ac:grpSpMkLst>
        </pc:grpChg>
        <pc:picChg chg="del">
          <ac:chgData name="Müller, Kurt (SI BP S&amp;C CS&amp;TR TR)" userId="e7e82c7e-80c6-42a5-ab71-24588885b7fe" providerId="ADAL" clId="{9A68D976-6B27-41CF-A773-96FB881042A0}" dt="2021-03-24T18:55:19.906" v="131" actId="478"/>
          <ac:picMkLst>
            <pc:docMk/>
            <pc:sldMk cId="3026962512" sldId="2566"/>
            <ac:picMk id="5" creationId="{2512C25A-7DC9-47B1-A3AC-BAB3B9B50C79}"/>
          </ac:picMkLst>
        </pc:picChg>
      </pc:sldChg>
      <pc:sldChg chg="addSp delSp modSp add mod">
        <pc:chgData name="Müller, Kurt (SI BP S&amp;C CS&amp;TR TR)" userId="e7e82c7e-80c6-42a5-ab71-24588885b7fe" providerId="ADAL" clId="{9A68D976-6B27-41CF-A773-96FB881042A0}" dt="2021-03-24T18:11:04.764" v="31" actId="14100"/>
        <pc:sldMkLst>
          <pc:docMk/>
          <pc:sldMk cId="2815062650" sldId="2567"/>
        </pc:sldMkLst>
        <pc:spChg chg="mod">
          <ac:chgData name="Müller, Kurt (SI BP S&amp;C CS&amp;TR TR)" userId="e7e82c7e-80c6-42a5-ab71-24588885b7fe" providerId="ADAL" clId="{9A68D976-6B27-41CF-A773-96FB881042A0}" dt="2021-03-24T18:10:48.332" v="27" actId="206"/>
          <ac:spMkLst>
            <pc:docMk/>
            <pc:sldMk cId="2815062650" sldId="2567"/>
            <ac:spMk id="13" creationId="{773F83D3-48C6-4195-90D4-A98271A5B5BA}"/>
          </ac:spMkLst>
        </pc:spChg>
        <pc:spChg chg="mod">
          <ac:chgData name="Müller, Kurt (SI BP S&amp;C CS&amp;TR TR)" userId="e7e82c7e-80c6-42a5-ab71-24588885b7fe" providerId="ADAL" clId="{9A68D976-6B27-41CF-A773-96FB881042A0}" dt="2021-03-24T18:10:35.119" v="24" actId="14100"/>
          <ac:spMkLst>
            <pc:docMk/>
            <pc:sldMk cId="2815062650" sldId="2567"/>
            <ac:spMk id="22" creationId="{F7B75921-170C-44AB-ABF0-CE8BA51F492F}"/>
          </ac:spMkLst>
        </pc:spChg>
        <pc:spChg chg="del">
          <ac:chgData name="Müller, Kurt (SI BP S&amp;C CS&amp;TR TR)" userId="e7e82c7e-80c6-42a5-ab71-24588885b7fe" providerId="ADAL" clId="{9A68D976-6B27-41CF-A773-96FB881042A0}" dt="2021-03-24T18:08:58.328" v="13" actId="478"/>
          <ac:spMkLst>
            <pc:docMk/>
            <pc:sldMk cId="2815062650" sldId="2567"/>
            <ac:spMk id="149" creationId="{8D61014E-D985-48CC-8B68-C228B50F1EA6}"/>
          </ac:spMkLst>
        </pc:spChg>
        <pc:spChg chg="del">
          <ac:chgData name="Müller, Kurt (SI BP S&amp;C CS&amp;TR TR)" userId="e7e82c7e-80c6-42a5-ab71-24588885b7fe" providerId="ADAL" clId="{9A68D976-6B27-41CF-A773-96FB881042A0}" dt="2021-03-24T18:08:58.328" v="13" actId="478"/>
          <ac:spMkLst>
            <pc:docMk/>
            <pc:sldMk cId="2815062650" sldId="2567"/>
            <ac:spMk id="150" creationId="{BF1F70F8-3350-49E8-9358-4595A22D8B24}"/>
          </ac:spMkLst>
        </pc:spChg>
        <pc:spChg chg="del">
          <ac:chgData name="Müller, Kurt (SI BP S&amp;C CS&amp;TR TR)" userId="e7e82c7e-80c6-42a5-ab71-24588885b7fe" providerId="ADAL" clId="{9A68D976-6B27-41CF-A773-96FB881042A0}" dt="2021-03-24T18:08:58.328" v="13" actId="478"/>
          <ac:spMkLst>
            <pc:docMk/>
            <pc:sldMk cId="2815062650" sldId="2567"/>
            <ac:spMk id="151" creationId="{06676118-D1FA-48AA-99C3-ACA1750B005D}"/>
          </ac:spMkLst>
        </pc:spChg>
        <pc:spChg chg="del">
          <ac:chgData name="Müller, Kurt (SI BP S&amp;C CS&amp;TR TR)" userId="e7e82c7e-80c6-42a5-ab71-24588885b7fe" providerId="ADAL" clId="{9A68D976-6B27-41CF-A773-96FB881042A0}" dt="2021-03-24T18:08:58.328" v="13" actId="478"/>
          <ac:spMkLst>
            <pc:docMk/>
            <pc:sldMk cId="2815062650" sldId="2567"/>
            <ac:spMk id="161" creationId="{8B7A1944-C053-4BE5-87C9-A20F14DFB781}"/>
          </ac:spMkLst>
        </pc:spChg>
        <pc:spChg chg="mod">
          <ac:chgData name="Müller, Kurt (SI BP S&amp;C CS&amp;TR TR)" userId="e7e82c7e-80c6-42a5-ab71-24588885b7fe" providerId="ADAL" clId="{9A68D976-6B27-41CF-A773-96FB881042A0}" dt="2021-03-24T18:09:07.349" v="16" actId="6549"/>
          <ac:spMkLst>
            <pc:docMk/>
            <pc:sldMk cId="2815062650" sldId="2567"/>
            <ac:spMk id="228" creationId="{0D7025C6-8DB3-4316-9428-FA465B3B3196}"/>
          </ac:spMkLst>
        </pc:spChg>
        <pc:spChg chg="mod">
          <ac:chgData name="Müller, Kurt (SI BP S&amp;C CS&amp;TR TR)" userId="e7e82c7e-80c6-42a5-ab71-24588885b7fe" providerId="ADAL" clId="{9A68D976-6B27-41CF-A773-96FB881042A0}" dt="2021-03-24T18:09:09.663" v="17" actId="6549"/>
          <ac:spMkLst>
            <pc:docMk/>
            <pc:sldMk cId="2815062650" sldId="2567"/>
            <ac:spMk id="268" creationId="{62A5C837-6992-4886-A8DB-DED58DDE97C8}"/>
          </ac:spMkLst>
        </pc:spChg>
        <pc:spChg chg="mod">
          <ac:chgData name="Müller, Kurt (SI BP S&amp;C CS&amp;TR TR)" userId="e7e82c7e-80c6-42a5-ab71-24588885b7fe" providerId="ADAL" clId="{9A68D976-6B27-41CF-A773-96FB881042A0}" dt="2021-03-24T18:09:02.045" v="14" actId="6549"/>
          <ac:spMkLst>
            <pc:docMk/>
            <pc:sldMk cId="2815062650" sldId="2567"/>
            <ac:spMk id="279" creationId="{C8093FC4-FA6C-4062-8195-0E6F2937CD36}"/>
          </ac:spMkLst>
        </pc:spChg>
        <pc:spChg chg="mod">
          <ac:chgData name="Müller, Kurt (SI BP S&amp;C CS&amp;TR TR)" userId="e7e82c7e-80c6-42a5-ab71-24588885b7fe" providerId="ADAL" clId="{9A68D976-6B27-41CF-A773-96FB881042A0}" dt="2021-03-24T18:09:04.394" v="15" actId="6549"/>
          <ac:spMkLst>
            <pc:docMk/>
            <pc:sldMk cId="2815062650" sldId="2567"/>
            <ac:spMk id="294" creationId="{A324D758-C2E6-4433-86E4-988B98697DFC}"/>
          </ac:spMkLst>
        </pc:spChg>
        <pc:cxnChg chg="del">
          <ac:chgData name="Müller, Kurt (SI BP S&amp;C CS&amp;TR TR)" userId="e7e82c7e-80c6-42a5-ab71-24588885b7fe" providerId="ADAL" clId="{9A68D976-6B27-41CF-A773-96FB881042A0}" dt="2021-03-24T18:09:26.950" v="18" actId="478"/>
          <ac:cxnSpMkLst>
            <pc:docMk/>
            <pc:sldMk cId="2815062650" sldId="2567"/>
            <ac:cxnSpMk id="8" creationId="{54F11B22-202E-46EF-A42B-156978C3AA06}"/>
          </ac:cxnSpMkLst>
        </pc:cxnChg>
        <pc:cxnChg chg="add mod">
          <ac:chgData name="Müller, Kurt (SI BP S&amp;C CS&amp;TR TR)" userId="e7e82c7e-80c6-42a5-ab71-24588885b7fe" providerId="ADAL" clId="{9A68D976-6B27-41CF-A773-96FB881042A0}" dt="2021-03-24T18:10:55.556" v="28" actId="1076"/>
          <ac:cxnSpMkLst>
            <pc:docMk/>
            <pc:sldMk cId="2815062650" sldId="2567"/>
            <ac:cxnSpMk id="176" creationId="{4A2639E8-6D40-4182-92AF-8E0E516BB93F}"/>
          </ac:cxnSpMkLst>
        </pc:cxnChg>
        <pc:cxnChg chg="mod">
          <ac:chgData name="Müller, Kurt (SI BP S&amp;C CS&amp;TR TR)" userId="e7e82c7e-80c6-42a5-ab71-24588885b7fe" providerId="ADAL" clId="{9A68D976-6B27-41CF-A773-96FB881042A0}" dt="2021-03-24T18:11:04.764" v="31" actId="14100"/>
          <ac:cxnSpMkLst>
            <pc:docMk/>
            <pc:sldMk cId="2815062650" sldId="2567"/>
            <ac:cxnSpMk id="242" creationId="{BF4DE134-DA1D-474D-A099-668BF6A40D5F}"/>
          </ac:cxnSpMkLst>
        </pc:cxnChg>
        <pc:cxnChg chg="mod">
          <ac:chgData name="Müller, Kurt (SI BP S&amp;C CS&amp;TR TR)" userId="e7e82c7e-80c6-42a5-ab71-24588885b7fe" providerId="ADAL" clId="{9A68D976-6B27-41CF-A773-96FB881042A0}" dt="2021-03-24T18:10:58.820" v="29" actId="14100"/>
          <ac:cxnSpMkLst>
            <pc:docMk/>
            <pc:sldMk cId="2815062650" sldId="2567"/>
            <ac:cxnSpMk id="257" creationId="{92222AC8-75E5-4563-9299-47B977EE3F6B}"/>
          </ac:cxnSpMkLst>
        </pc:cxnChg>
        <pc:cxnChg chg="mod">
          <ac:chgData name="Müller, Kurt (SI BP S&amp;C CS&amp;TR TR)" userId="e7e82c7e-80c6-42a5-ab71-24588885b7fe" providerId="ADAL" clId="{9A68D976-6B27-41CF-A773-96FB881042A0}" dt="2021-03-24T18:11:01.805" v="30" actId="14100"/>
          <ac:cxnSpMkLst>
            <pc:docMk/>
            <pc:sldMk cId="2815062650" sldId="2567"/>
            <ac:cxnSpMk id="293" creationId="{B66D1D97-7255-44BD-AC77-E20217794143}"/>
          </ac:cxnSpMkLst>
        </pc:cxnChg>
      </pc:sldChg>
      <pc:sldChg chg="addSp delSp modSp add mod modAnim">
        <pc:chgData name="Müller, Kurt (SI BP S&amp;C CS&amp;TR TR)" userId="e7e82c7e-80c6-42a5-ab71-24588885b7fe" providerId="ADAL" clId="{9A68D976-6B27-41CF-A773-96FB881042A0}" dt="2021-03-24T18:58:06.463" v="259" actId="14734"/>
        <pc:sldMkLst>
          <pc:docMk/>
          <pc:sldMk cId="1162615204" sldId="2568"/>
        </pc:sldMkLst>
        <pc:spChg chg="add mod">
          <ac:chgData name="Müller, Kurt (SI BP S&amp;C CS&amp;TR TR)" userId="e7e82c7e-80c6-42a5-ab71-24588885b7fe" providerId="ADAL" clId="{9A68D976-6B27-41CF-A773-96FB881042A0}" dt="2021-03-24T18:55:59.646" v="159" actId="1076"/>
          <ac:spMkLst>
            <pc:docMk/>
            <pc:sldMk cId="1162615204" sldId="2568"/>
            <ac:spMk id="2" creationId="{EF4B4D07-836E-4BA9-A34D-C48B253D0D06}"/>
          </ac:spMkLst>
        </pc:spChg>
        <pc:spChg chg="del">
          <ac:chgData name="Müller, Kurt (SI BP S&amp;C CS&amp;TR TR)" userId="e7e82c7e-80c6-42a5-ab71-24588885b7fe" providerId="ADAL" clId="{9A68D976-6B27-41CF-A773-96FB881042A0}" dt="2021-03-24T18:55:11.370" v="128" actId="478"/>
          <ac:spMkLst>
            <pc:docMk/>
            <pc:sldMk cId="1162615204" sldId="2568"/>
            <ac:spMk id="7" creationId="{AEFB570C-2B79-477D-92D8-29EF5FEA4B8D}"/>
          </ac:spMkLst>
        </pc:spChg>
        <pc:spChg chg="del">
          <ac:chgData name="Müller, Kurt (SI BP S&amp;C CS&amp;TR TR)" userId="e7e82c7e-80c6-42a5-ab71-24588885b7fe" providerId="ADAL" clId="{9A68D976-6B27-41CF-A773-96FB881042A0}" dt="2021-03-24T18:55:11.370" v="128" actId="478"/>
          <ac:spMkLst>
            <pc:docMk/>
            <pc:sldMk cId="1162615204" sldId="2568"/>
            <ac:spMk id="8" creationId="{89154655-216A-478F-8D48-BE5C48C25747}"/>
          </ac:spMkLst>
        </pc:spChg>
        <pc:spChg chg="del">
          <ac:chgData name="Müller, Kurt (SI BP S&amp;C CS&amp;TR TR)" userId="e7e82c7e-80c6-42a5-ab71-24588885b7fe" providerId="ADAL" clId="{9A68D976-6B27-41CF-A773-96FB881042A0}" dt="2021-03-24T18:55:11.370" v="128" actId="478"/>
          <ac:spMkLst>
            <pc:docMk/>
            <pc:sldMk cId="1162615204" sldId="2568"/>
            <ac:spMk id="17" creationId="{316058D5-16F2-426F-9CFB-629D9F03B513}"/>
          </ac:spMkLst>
        </pc:spChg>
        <pc:spChg chg="del">
          <ac:chgData name="Müller, Kurt (SI BP S&amp;C CS&amp;TR TR)" userId="e7e82c7e-80c6-42a5-ab71-24588885b7fe" providerId="ADAL" clId="{9A68D976-6B27-41CF-A773-96FB881042A0}" dt="2021-03-24T18:55:11.370" v="128" actId="478"/>
          <ac:spMkLst>
            <pc:docMk/>
            <pc:sldMk cId="1162615204" sldId="2568"/>
            <ac:spMk id="19" creationId="{1BF96094-1E93-41FB-A19C-756E04F07076}"/>
          </ac:spMkLst>
        </pc:spChg>
        <pc:spChg chg="del">
          <ac:chgData name="Müller, Kurt (SI BP S&amp;C CS&amp;TR TR)" userId="e7e82c7e-80c6-42a5-ab71-24588885b7fe" providerId="ADAL" clId="{9A68D976-6B27-41CF-A773-96FB881042A0}" dt="2021-03-24T18:55:11.370" v="128" actId="478"/>
          <ac:spMkLst>
            <pc:docMk/>
            <pc:sldMk cId="1162615204" sldId="2568"/>
            <ac:spMk id="20" creationId="{B55280FF-36C0-43D8-8C4A-F4B796C8A265}"/>
          </ac:spMkLst>
        </pc:spChg>
        <pc:spChg chg="del">
          <ac:chgData name="Müller, Kurt (SI BP S&amp;C CS&amp;TR TR)" userId="e7e82c7e-80c6-42a5-ab71-24588885b7fe" providerId="ADAL" clId="{9A68D976-6B27-41CF-A773-96FB881042A0}" dt="2021-03-24T18:55:11.370" v="128" actId="478"/>
          <ac:spMkLst>
            <pc:docMk/>
            <pc:sldMk cId="1162615204" sldId="2568"/>
            <ac:spMk id="21" creationId="{83CCA0F2-B07C-4F7C-90CD-1974289B28DD}"/>
          </ac:spMkLst>
        </pc:spChg>
        <pc:spChg chg="del">
          <ac:chgData name="Müller, Kurt (SI BP S&amp;C CS&amp;TR TR)" userId="e7e82c7e-80c6-42a5-ab71-24588885b7fe" providerId="ADAL" clId="{9A68D976-6B27-41CF-A773-96FB881042A0}" dt="2021-03-24T18:55:11.370" v="128" actId="478"/>
          <ac:spMkLst>
            <pc:docMk/>
            <pc:sldMk cId="1162615204" sldId="2568"/>
            <ac:spMk id="23" creationId="{5B50283A-4EFA-4E2B-A982-B03E5005B09C}"/>
          </ac:spMkLst>
        </pc:spChg>
        <pc:spChg chg="del">
          <ac:chgData name="Müller, Kurt (SI BP S&amp;C CS&amp;TR TR)" userId="e7e82c7e-80c6-42a5-ab71-24588885b7fe" providerId="ADAL" clId="{9A68D976-6B27-41CF-A773-96FB881042A0}" dt="2021-03-24T18:55:11.370" v="128" actId="478"/>
          <ac:spMkLst>
            <pc:docMk/>
            <pc:sldMk cId="1162615204" sldId="2568"/>
            <ac:spMk id="24" creationId="{BCCB8BDB-924A-45FF-8B35-BDA76E9EA881}"/>
          </ac:spMkLst>
        </pc:spChg>
        <pc:spChg chg="mod">
          <ac:chgData name="Müller, Kurt (SI BP S&amp;C CS&amp;TR TR)" userId="e7e82c7e-80c6-42a5-ab71-24588885b7fe" providerId="ADAL" clId="{9A68D976-6B27-41CF-A773-96FB881042A0}" dt="2021-03-24T18:55:04.850" v="127" actId="20577"/>
          <ac:spMkLst>
            <pc:docMk/>
            <pc:sldMk cId="1162615204" sldId="2568"/>
            <ac:spMk id="41" creationId="{ABACFB30-994A-4B20-8B0F-D485865264A8}"/>
          </ac:spMkLst>
        </pc:spChg>
        <pc:spChg chg="del">
          <ac:chgData name="Müller, Kurt (SI BP S&amp;C CS&amp;TR TR)" userId="e7e82c7e-80c6-42a5-ab71-24588885b7fe" providerId="ADAL" clId="{9A68D976-6B27-41CF-A773-96FB881042A0}" dt="2021-03-24T18:55:14.284" v="130" actId="478"/>
          <ac:spMkLst>
            <pc:docMk/>
            <pc:sldMk cId="1162615204" sldId="2568"/>
            <ac:spMk id="46" creationId="{12EE9C2A-7AF3-4376-A34F-F8106C3E30CA}"/>
          </ac:spMkLst>
        </pc:spChg>
        <pc:spChg chg="del">
          <ac:chgData name="Müller, Kurt (SI BP S&amp;C CS&amp;TR TR)" userId="e7e82c7e-80c6-42a5-ab71-24588885b7fe" providerId="ADAL" clId="{9A68D976-6B27-41CF-A773-96FB881042A0}" dt="2021-03-24T18:55:11.370" v="128" actId="478"/>
          <ac:spMkLst>
            <pc:docMk/>
            <pc:sldMk cId="1162615204" sldId="2568"/>
            <ac:spMk id="303" creationId="{9F1995A1-B05B-4D34-8F6C-1CD6483AEC51}"/>
          </ac:spMkLst>
        </pc:spChg>
        <pc:spChg chg="del">
          <ac:chgData name="Müller, Kurt (SI BP S&amp;C CS&amp;TR TR)" userId="e7e82c7e-80c6-42a5-ab71-24588885b7fe" providerId="ADAL" clId="{9A68D976-6B27-41CF-A773-96FB881042A0}" dt="2021-03-24T18:55:11.370" v="128" actId="478"/>
          <ac:spMkLst>
            <pc:docMk/>
            <pc:sldMk cId="1162615204" sldId="2568"/>
            <ac:spMk id="307" creationId="{DDEA60E1-B596-45F3-A4EF-8843A51E3E3A}"/>
          </ac:spMkLst>
        </pc:spChg>
        <pc:spChg chg="del">
          <ac:chgData name="Müller, Kurt (SI BP S&amp;C CS&amp;TR TR)" userId="e7e82c7e-80c6-42a5-ab71-24588885b7fe" providerId="ADAL" clId="{9A68D976-6B27-41CF-A773-96FB881042A0}" dt="2021-03-24T18:55:11.370" v="128" actId="478"/>
          <ac:spMkLst>
            <pc:docMk/>
            <pc:sldMk cId="1162615204" sldId="2568"/>
            <ac:spMk id="308" creationId="{99C30345-0670-411A-9AA1-FB514DE1E9B5}"/>
          </ac:spMkLst>
        </pc:spChg>
        <pc:spChg chg="del">
          <ac:chgData name="Müller, Kurt (SI BP S&amp;C CS&amp;TR TR)" userId="e7e82c7e-80c6-42a5-ab71-24588885b7fe" providerId="ADAL" clId="{9A68D976-6B27-41CF-A773-96FB881042A0}" dt="2021-03-24T18:55:11.370" v="128" actId="478"/>
          <ac:spMkLst>
            <pc:docMk/>
            <pc:sldMk cId="1162615204" sldId="2568"/>
            <ac:spMk id="491" creationId="{D9FD7B1A-722D-4B41-A780-E5B8446CE811}"/>
          </ac:spMkLst>
        </pc:spChg>
        <pc:grpChg chg="del">
          <ac:chgData name="Müller, Kurt (SI BP S&amp;C CS&amp;TR TR)" userId="e7e82c7e-80c6-42a5-ab71-24588885b7fe" providerId="ADAL" clId="{9A68D976-6B27-41CF-A773-96FB881042A0}" dt="2021-03-24T18:55:11.370" v="128" actId="478"/>
          <ac:grpSpMkLst>
            <pc:docMk/>
            <pc:sldMk cId="1162615204" sldId="2568"/>
            <ac:grpSpMk id="4" creationId="{BE2A73F2-F32F-4F31-9FD1-D26D6583A89F}"/>
          </ac:grpSpMkLst>
        </pc:grpChg>
        <pc:grpChg chg="del">
          <ac:chgData name="Müller, Kurt (SI BP S&amp;C CS&amp;TR TR)" userId="e7e82c7e-80c6-42a5-ab71-24588885b7fe" providerId="ADAL" clId="{9A68D976-6B27-41CF-A773-96FB881042A0}" dt="2021-03-24T18:55:11.370" v="128" actId="478"/>
          <ac:grpSpMkLst>
            <pc:docMk/>
            <pc:sldMk cId="1162615204" sldId="2568"/>
            <ac:grpSpMk id="229" creationId="{495E5A02-8714-4C35-8506-1BE663FFC7CC}"/>
          </ac:grpSpMkLst>
        </pc:grpChg>
        <pc:grpChg chg="del">
          <ac:chgData name="Müller, Kurt (SI BP S&amp;C CS&amp;TR TR)" userId="e7e82c7e-80c6-42a5-ab71-24588885b7fe" providerId="ADAL" clId="{9A68D976-6B27-41CF-A773-96FB881042A0}" dt="2021-03-24T18:55:11.370" v="128" actId="478"/>
          <ac:grpSpMkLst>
            <pc:docMk/>
            <pc:sldMk cId="1162615204" sldId="2568"/>
            <ac:grpSpMk id="243" creationId="{22CE87DC-6325-4E8A-B3E3-6B66B0899F46}"/>
          </ac:grpSpMkLst>
        </pc:grpChg>
        <pc:grpChg chg="del">
          <ac:chgData name="Müller, Kurt (SI BP S&amp;C CS&amp;TR TR)" userId="e7e82c7e-80c6-42a5-ab71-24588885b7fe" providerId="ADAL" clId="{9A68D976-6B27-41CF-A773-96FB881042A0}" dt="2021-03-24T18:55:11.370" v="128" actId="478"/>
          <ac:grpSpMkLst>
            <pc:docMk/>
            <pc:sldMk cId="1162615204" sldId="2568"/>
            <ac:grpSpMk id="263" creationId="{5C8A9359-738A-436F-BCE8-EFCA97ADD1B4}"/>
          </ac:grpSpMkLst>
        </pc:grpChg>
        <pc:grpChg chg="del">
          <ac:chgData name="Müller, Kurt (SI BP S&amp;C CS&amp;TR TR)" userId="e7e82c7e-80c6-42a5-ab71-24588885b7fe" providerId="ADAL" clId="{9A68D976-6B27-41CF-A773-96FB881042A0}" dt="2021-03-24T18:55:11.370" v="128" actId="478"/>
          <ac:grpSpMkLst>
            <pc:docMk/>
            <pc:sldMk cId="1162615204" sldId="2568"/>
            <ac:grpSpMk id="283" creationId="{10236FEB-CB63-418B-A4A5-0A2D7E782D56}"/>
          </ac:grpSpMkLst>
        </pc:grpChg>
        <pc:grpChg chg="del">
          <ac:chgData name="Müller, Kurt (SI BP S&amp;C CS&amp;TR TR)" userId="e7e82c7e-80c6-42a5-ab71-24588885b7fe" providerId="ADAL" clId="{9A68D976-6B27-41CF-A773-96FB881042A0}" dt="2021-03-24T18:55:11.370" v="128" actId="478"/>
          <ac:grpSpMkLst>
            <pc:docMk/>
            <pc:sldMk cId="1162615204" sldId="2568"/>
            <ac:grpSpMk id="309" creationId="{8EFE7874-D127-4682-A3E8-286A78D67C43}"/>
          </ac:grpSpMkLst>
        </pc:grpChg>
        <pc:grpChg chg="del">
          <ac:chgData name="Müller, Kurt (SI BP S&amp;C CS&amp;TR TR)" userId="e7e82c7e-80c6-42a5-ab71-24588885b7fe" providerId="ADAL" clId="{9A68D976-6B27-41CF-A773-96FB881042A0}" dt="2021-03-24T18:55:11.370" v="128" actId="478"/>
          <ac:grpSpMkLst>
            <pc:docMk/>
            <pc:sldMk cId="1162615204" sldId="2568"/>
            <ac:grpSpMk id="329" creationId="{F06DA6F1-0CC6-43CA-A643-4C408E3AB3F2}"/>
          </ac:grpSpMkLst>
        </pc:grpChg>
        <pc:grpChg chg="del">
          <ac:chgData name="Müller, Kurt (SI BP S&amp;C CS&amp;TR TR)" userId="e7e82c7e-80c6-42a5-ab71-24588885b7fe" providerId="ADAL" clId="{9A68D976-6B27-41CF-A773-96FB881042A0}" dt="2021-03-24T18:55:11.370" v="128" actId="478"/>
          <ac:grpSpMkLst>
            <pc:docMk/>
            <pc:sldMk cId="1162615204" sldId="2568"/>
            <ac:grpSpMk id="349" creationId="{ABFFAEB1-16FF-4C66-8DF3-7CF4E8781778}"/>
          </ac:grpSpMkLst>
        </pc:grpChg>
        <pc:grpChg chg="del">
          <ac:chgData name="Müller, Kurt (SI BP S&amp;C CS&amp;TR TR)" userId="e7e82c7e-80c6-42a5-ab71-24588885b7fe" providerId="ADAL" clId="{9A68D976-6B27-41CF-A773-96FB881042A0}" dt="2021-03-24T18:55:11.370" v="128" actId="478"/>
          <ac:grpSpMkLst>
            <pc:docMk/>
            <pc:sldMk cId="1162615204" sldId="2568"/>
            <ac:grpSpMk id="369" creationId="{CD6B261E-2971-464B-92BF-F9B11894C71A}"/>
          </ac:grpSpMkLst>
        </pc:grpChg>
        <pc:grpChg chg="del">
          <ac:chgData name="Müller, Kurt (SI BP S&amp;C CS&amp;TR TR)" userId="e7e82c7e-80c6-42a5-ab71-24588885b7fe" providerId="ADAL" clId="{9A68D976-6B27-41CF-A773-96FB881042A0}" dt="2021-03-24T18:55:11.370" v="128" actId="478"/>
          <ac:grpSpMkLst>
            <pc:docMk/>
            <pc:sldMk cId="1162615204" sldId="2568"/>
            <ac:grpSpMk id="389" creationId="{5924F927-EBEE-426A-BB9D-4A8CBAD15AEC}"/>
          </ac:grpSpMkLst>
        </pc:grpChg>
        <pc:grpChg chg="del">
          <ac:chgData name="Müller, Kurt (SI BP S&amp;C CS&amp;TR TR)" userId="e7e82c7e-80c6-42a5-ab71-24588885b7fe" providerId="ADAL" clId="{9A68D976-6B27-41CF-A773-96FB881042A0}" dt="2021-03-24T18:55:11.370" v="128" actId="478"/>
          <ac:grpSpMkLst>
            <pc:docMk/>
            <pc:sldMk cId="1162615204" sldId="2568"/>
            <ac:grpSpMk id="409" creationId="{00E69017-44A3-4773-9D51-3A07DB6753AB}"/>
          </ac:grpSpMkLst>
        </pc:grpChg>
        <pc:grpChg chg="del">
          <ac:chgData name="Müller, Kurt (SI BP S&amp;C CS&amp;TR TR)" userId="e7e82c7e-80c6-42a5-ab71-24588885b7fe" providerId="ADAL" clId="{9A68D976-6B27-41CF-A773-96FB881042A0}" dt="2021-03-24T18:55:11.370" v="128" actId="478"/>
          <ac:grpSpMkLst>
            <pc:docMk/>
            <pc:sldMk cId="1162615204" sldId="2568"/>
            <ac:grpSpMk id="429" creationId="{9B7C6D9D-02E0-43F9-8E91-D23512C114A9}"/>
          </ac:grpSpMkLst>
        </pc:grpChg>
        <pc:grpChg chg="del">
          <ac:chgData name="Müller, Kurt (SI BP S&amp;C CS&amp;TR TR)" userId="e7e82c7e-80c6-42a5-ab71-24588885b7fe" providerId="ADAL" clId="{9A68D976-6B27-41CF-A773-96FB881042A0}" dt="2021-03-24T18:55:11.370" v="128" actId="478"/>
          <ac:grpSpMkLst>
            <pc:docMk/>
            <pc:sldMk cId="1162615204" sldId="2568"/>
            <ac:grpSpMk id="449" creationId="{08BC85F5-5041-4840-801A-FC3B2A1462F1}"/>
          </ac:grpSpMkLst>
        </pc:grpChg>
        <pc:grpChg chg="del">
          <ac:chgData name="Müller, Kurt (SI BP S&amp;C CS&amp;TR TR)" userId="e7e82c7e-80c6-42a5-ab71-24588885b7fe" providerId="ADAL" clId="{9A68D976-6B27-41CF-A773-96FB881042A0}" dt="2021-03-24T18:55:11.370" v="128" actId="478"/>
          <ac:grpSpMkLst>
            <pc:docMk/>
            <pc:sldMk cId="1162615204" sldId="2568"/>
            <ac:grpSpMk id="469" creationId="{9C85DF34-3CA1-4740-9004-4EF16E7C900C}"/>
          </ac:grpSpMkLst>
        </pc:grpChg>
        <pc:graphicFrameChg chg="add mod modGraphic">
          <ac:chgData name="Müller, Kurt (SI BP S&amp;C CS&amp;TR TR)" userId="e7e82c7e-80c6-42a5-ab71-24588885b7fe" providerId="ADAL" clId="{9A68D976-6B27-41CF-A773-96FB881042A0}" dt="2021-03-24T18:58:06.463" v="259" actId="14734"/>
          <ac:graphicFrameMkLst>
            <pc:docMk/>
            <pc:sldMk cId="1162615204" sldId="2568"/>
            <ac:graphicFrameMk id="3" creationId="{BF320831-E879-4E6A-810B-F485D5F4329F}"/>
          </ac:graphicFrameMkLst>
        </pc:graphicFrameChg>
        <pc:graphicFrameChg chg="del">
          <ac:chgData name="Müller, Kurt (SI BP S&amp;C CS&amp;TR TR)" userId="e7e82c7e-80c6-42a5-ab71-24588885b7fe" providerId="ADAL" clId="{9A68D976-6B27-41CF-A773-96FB881042A0}" dt="2021-03-24T18:55:11.370" v="128" actId="478"/>
          <ac:graphicFrameMkLst>
            <pc:docMk/>
            <pc:sldMk cId="1162615204" sldId="2568"/>
            <ac:graphicFrameMk id="492" creationId="{C2AC56A2-ED59-4B03-BC8F-7FFC860B2B3D}"/>
          </ac:graphicFrameMkLst>
        </pc:graphicFrameChg>
        <pc:picChg chg="del">
          <ac:chgData name="Müller, Kurt (SI BP S&amp;C CS&amp;TR TR)" userId="e7e82c7e-80c6-42a5-ab71-24588885b7fe" providerId="ADAL" clId="{9A68D976-6B27-41CF-A773-96FB881042A0}" dt="2021-03-24T18:55:13.073" v="129" actId="478"/>
          <ac:picMkLst>
            <pc:docMk/>
            <pc:sldMk cId="1162615204" sldId="2568"/>
            <ac:picMk id="5" creationId="{2512C25A-7DC9-47B1-A3AC-BAB3B9B50C79}"/>
          </ac:picMkLst>
        </pc:picChg>
      </pc:sldChg>
    </pc:docChg>
  </pc:docChgLst>
  <pc:docChgLst>
    <pc:chgData name="Müller, Kurt (SI BP S TSS TR)" userId="e7e82c7e-80c6-42a5-ab71-24588885b7fe" providerId="ADAL" clId="{9FEA2841-5B76-4EDB-8984-1B2D4375FBAF}"/>
    <pc:docChg chg="undo redo custSel addSld delSld modSld sldOrd modMainMaster">
      <pc:chgData name="Müller, Kurt (SI BP S TSS TR)" userId="e7e82c7e-80c6-42a5-ab71-24588885b7fe" providerId="ADAL" clId="{9FEA2841-5B76-4EDB-8984-1B2D4375FBAF}" dt="2021-07-23T13:56:09.685" v="1841" actId="478"/>
      <pc:docMkLst>
        <pc:docMk/>
      </pc:docMkLst>
      <pc:sldChg chg="modSp mod ord">
        <pc:chgData name="Müller, Kurt (SI BP S TSS TR)" userId="e7e82c7e-80c6-42a5-ab71-24588885b7fe" providerId="ADAL" clId="{9FEA2841-5B76-4EDB-8984-1B2D4375FBAF}" dt="2021-07-21T09:26:09.468" v="1058" actId="1076"/>
        <pc:sldMkLst>
          <pc:docMk/>
          <pc:sldMk cId="0" sldId="500"/>
        </pc:sldMkLst>
        <pc:spChg chg="mod">
          <ac:chgData name="Müller, Kurt (SI BP S TSS TR)" userId="e7e82c7e-80c6-42a5-ab71-24588885b7fe" providerId="ADAL" clId="{9FEA2841-5B76-4EDB-8984-1B2D4375FBAF}" dt="2021-07-21T09:18:28.343" v="1052" actId="120"/>
          <ac:spMkLst>
            <pc:docMk/>
            <pc:sldMk cId="0" sldId="500"/>
            <ac:spMk id="5126" creationId="{BF2D2108-7AB9-4C70-9BD1-F29FADE5B8E9}"/>
          </ac:spMkLst>
        </pc:spChg>
        <pc:spChg chg="mod">
          <ac:chgData name="Müller, Kurt (SI BP S TSS TR)" userId="e7e82c7e-80c6-42a5-ab71-24588885b7fe" providerId="ADAL" clId="{9FEA2841-5B76-4EDB-8984-1B2D4375FBAF}" dt="2021-07-21T09:18:53.137" v="1056" actId="20577"/>
          <ac:spMkLst>
            <pc:docMk/>
            <pc:sldMk cId="0" sldId="500"/>
            <ac:spMk id="5127" creationId="{EFFE4316-AA5F-4FAB-B5F9-57094213B90D}"/>
          </ac:spMkLst>
        </pc:spChg>
        <pc:spChg chg="mod">
          <ac:chgData name="Müller, Kurt (SI BP S TSS TR)" userId="e7e82c7e-80c6-42a5-ab71-24588885b7fe" providerId="ADAL" clId="{9FEA2841-5B76-4EDB-8984-1B2D4375FBAF}" dt="2021-07-21T09:26:09.468" v="1058" actId="1076"/>
          <ac:spMkLst>
            <pc:docMk/>
            <pc:sldMk cId="0" sldId="500"/>
            <ac:spMk id="5140" creationId="{37459D76-6860-4CAE-BB75-E32F53497598}"/>
          </ac:spMkLst>
        </pc:spChg>
        <pc:spChg chg="mod">
          <ac:chgData name="Müller, Kurt (SI BP S TSS TR)" userId="e7e82c7e-80c6-42a5-ab71-24588885b7fe" providerId="ADAL" clId="{9FEA2841-5B76-4EDB-8984-1B2D4375FBAF}" dt="2021-07-21T09:26:09.468" v="1058" actId="1076"/>
          <ac:spMkLst>
            <pc:docMk/>
            <pc:sldMk cId="0" sldId="500"/>
            <ac:spMk id="5142" creationId="{5B24ED19-2A64-4F8F-A51A-33A7362E438E}"/>
          </ac:spMkLst>
        </pc:spChg>
        <pc:grpChg chg="mod">
          <ac:chgData name="Müller, Kurt (SI BP S TSS TR)" userId="e7e82c7e-80c6-42a5-ab71-24588885b7fe" providerId="ADAL" clId="{9FEA2841-5B76-4EDB-8984-1B2D4375FBAF}" dt="2021-07-21T09:26:09.468" v="1058" actId="1076"/>
          <ac:grpSpMkLst>
            <pc:docMk/>
            <pc:sldMk cId="0" sldId="500"/>
            <ac:grpSpMk id="5128" creationId="{18574174-F828-41D3-A2F0-72F5CEDBE9D8}"/>
          </ac:grpSpMkLst>
        </pc:grpChg>
        <pc:grpChg chg="mod">
          <ac:chgData name="Müller, Kurt (SI BP S TSS TR)" userId="e7e82c7e-80c6-42a5-ab71-24588885b7fe" providerId="ADAL" clId="{9FEA2841-5B76-4EDB-8984-1B2D4375FBAF}" dt="2021-07-21T09:26:09.468" v="1058" actId="1076"/>
          <ac:grpSpMkLst>
            <pc:docMk/>
            <pc:sldMk cId="0" sldId="500"/>
            <ac:grpSpMk id="5138" creationId="{B5E296E1-841C-443A-956A-1DCE3DDB76C8}"/>
          </ac:grpSpMkLst>
        </pc:grpChg>
        <pc:picChg chg="mod">
          <ac:chgData name="Müller, Kurt (SI BP S TSS TR)" userId="e7e82c7e-80c6-42a5-ab71-24588885b7fe" providerId="ADAL" clId="{9FEA2841-5B76-4EDB-8984-1B2D4375FBAF}" dt="2021-07-21T09:26:09.468" v="1058" actId="1076"/>
          <ac:picMkLst>
            <pc:docMk/>
            <pc:sldMk cId="0" sldId="500"/>
            <ac:picMk id="5139" creationId="{AAFA69D5-7CD7-4A6B-B3E0-9D3A337E70E2}"/>
          </ac:picMkLst>
        </pc:picChg>
        <pc:picChg chg="mod">
          <ac:chgData name="Müller, Kurt (SI BP S TSS TR)" userId="e7e82c7e-80c6-42a5-ab71-24588885b7fe" providerId="ADAL" clId="{9FEA2841-5B76-4EDB-8984-1B2D4375FBAF}" dt="2021-07-21T09:26:09.468" v="1058" actId="1076"/>
          <ac:picMkLst>
            <pc:docMk/>
            <pc:sldMk cId="0" sldId="500"/>
            <ac:picMk id="5141" creationId="{27E4BC73-8F77-4FA7-AB9E-AC47F2F6F172}"/>
          </ac:picMkLst>
        </pc:picChg>
      </pc:sldChg>
      <pc:sldChg chg="ord">
        <pc:chgData name="Müller, Kurt (SI BP S TSS TR)" userId="e7e82c7e-80c6-42a5-ab71-24588885b7fe" providerId="ADAL" clId="{9FEA2841-5B76-4EDB-8984-1B2D4375FBAF}" dt="2021-07-21T09:11:07.977" v="920"/>
        <pc:sldMkLst>
          <pc:docMk/>
          <pc:sldMk cId="0" sldId="501"/>
        </pc:sldMkLst>
      </pc:sldChg>
      <pc:sldChg chg="ord">
        <pc:chgData name="Müller, Kurt (SI BP S TSS TR)" userId="e7e82c7e-80c6-42a5-ab71-24588885b7fe" providerId="ADAL" clId="{9FEA2841-5B76-4EDB-8984-1B2D4375FBAF}" dt="2021-07-21T09:11:07.977" v="920"/>
        <pc:sldMkLst>
          <pc:docMk/>
          <pc:sldMk cId="0" sldId="502"/>
        </pc:sldMkLst>
      </pc:sldChg>
      <pc:sldChg chg="ord">
        <pc:chgData name="Müller, Kurt (SI BP S TSS TR)" userId="e7e82c7e-80c6-42a5-ab71-24588885b7fe" providerId="ADAL" clId="{9FEA2841-5B76-4EDB-8984-1B2D4375FBAF}" dt="2021-07-21T09:11:07.977" v="920"/>
        <pc:sldMkLst>
          <pc:docMk/>
          <pc:sldMk cId="0" sldId="503"/>
        </pc:sldMkLst>
      </pc:sldChg>
      <pc:sldChg chg="ord">
        <pc:chgData name="Müller, Kurt (SI BP S TSS TR)" userId="e7e82c7e-80c6-42a5-ab71-24588885b7fe" providerId="ADAL" clId="{9FEA2841-5B76-4EDB-8984-1B2D4375FBAF}" dt="2021-07-21T09:11:07.977" v="920"/>
        <pc:sldMkLst>
          <pc:docMk/>
          <pc:sldMk cId="0" sldId="504"/>
        </pc:sldMkLst>
      </pc:sldChg>
      <pc:sldChg chg="ord">
        <pc:chgData name="Müller, Kurt (SI BP S TSS TR)" userId="e7e82c7e-80c6-42a5-ab71-24588885b7fe" providerId="ADAL" clId="{9FEA2841-5B76-4EDB-8984-1B2D4375FBAF}" dt="2021-07-21T09:11:07.977" v="920"/>
        <pc:sldMkLst>
          <pc:docMk/>
          <pc:sldMk cId="0" sldId="505"/>
        </pc:sldMkLst>
      </pc:sldChg>
      <pc:sldChg chg="ord">
        <pc:chgData name="Müller, Kurt (SI BP S TSS TR)" userId="e7e82c7e-80c6-42a5-ab71-24588885b7fe" providerId="ADAL" clId="{9FEA2841-5B76-4EDB-8984-1B2D4375FBAF}" dt="2021-07-21T09:11:07.977" v="920"/>
        <pc:sldMkLst>
          <pc:docMk/>
          <pc:sldMk cId="0" sldId="506"/>
        </pc:sldMkLst>
      </pc:sldChg>
      <pc:sldChg chg="ord">
        <pc:chgData name="Müller, Kurt (SI BP S TSS TR)" userId="e7e82c7e-80c6-42a5-ab71-24588885b7fe" providerId="ADAL" clId="{9FEA2841-5B76-4EDB-8984-1B2D4375FBAF}" dt="2021-07-21T09:11:07.977" v="920"/>
        <pc:sldMkLst>
          <pc:docMk/>
          <pc:sldMk cId="0" sldId="507"/>
        </pc:sldMkLst>
      </pc:sldChg>
      <pc:sldChg chg="ord">
        <pc:chgData name="Müller, Kurt (SI BP S TSS TR)" userId="e7e82c7e-80c6-42a5-ab71-24588885b7fe" providerId="ADAL" clId="{9FEA2841-5B76-4EDB-8984-1B2D4375FBAF}" dt="2021-07-21T09:11:07.977" v="920"/>
        <pc:sldMkLst>
          <pc:docMk/>
          <pc:sldMk cId="0" sldId="508"/>
        </pc:sldMkLst>
      </pc:sldChg>
      <pc:sldChg chg="ord">
        <pc:chgData name="Müller, Kurt (SI BP S TSS TR)" userId="e7e82c7e-80c6-42a5-ab71-24588885b7fe" providerId="ADAL" clId="{9FEA2841-5B76-4EDB-8984-1B2D4375FBAF}" dt="2021-07-21T09:11:07.977" v="920"/>
        <pc:sldMkLst>
          <pc:docMk/>
          <pc:sldMk cId="0" sldId="509"/>
        </pc:sldMkLst>
      </pc:sldChg>
      <pc:sldChg chg="ord">
        <pc:chgData name="Müller, Kurt (SI BP S TSS TR)" userId="e7e82c7e-80c6-42a5-ab71-24588885b7fe" providerId="ADAL" clId="{9FEA2841-5B76-4EDB-8984-1B2D4375FBAF}" dt="2021-07-21T09:11:07.977" v="920"/>
        <pc:sldMkLst>
          <pc:docMk/>
          <pc:sldMk cId="0" sldId="511"/>
        </pc:sldMkLst>
      </pc:sldChg>
      <pc:sldChg chg="ord">
        <pc:chgData name="Müller, Kurt (SI BP S TSS TR)" userId="e7e82c7e-80c6-42a5-ab71-24588885b7fe" providerId="ADAL" clId="{9FEA2841-5B76-4EDB-8984-1B2D4375FBAF}" dt="2021-07-21T09:11:07.977" v="920"/>
        <pc:sldMkLst>
          <pc:docMk/>
          <pc:sldMk cId="0" sldId="512"/>
        </pc:sldMkLst>
      </pc:sldChg>
      <pc:sldChg chg="addSp delSp modSp mod">
        <pc:chgData name="Müller, Kurt (SI BP S TSS TR)" userId="e7e82c7e-80c6-42a5-ab71-24588885b7fe" providerId="ADAL" clId="{9FEA2841-5B76-4EDB-8984-1B2D4375FBAF}" dt="2021-07-23T13:49:06.005" v="1824" actId="478"/>
        <pc:sldMkLst>
          <pc:docMk/>
          <pc:sldMk cId="0" sldId="879"/>
        </pc:sldMkLst>
        <pc:spChg chg="add mod">
          <ac:chgData name="Müller, Kurt (SI BP S TSS TR)" userId="e7e82c7e-80c6-42a5-ab71-24588885b7fe" providerId="ADAL" clId="{9FEA2841-5B76-4EDB-8984-1B2D4375FBAF}" dt="2021-07-23T13:41:50.317" v="1783" actId="14100"/>
          <ac:spMkLst>
            <pc:docMk/>
            <pc:sldMk cId="0" sldId="879"/>
            <ac:spMk id="6" creationId="{8E68476E-93AD-4251-B244-8DD265734402}"/>
          </ac:spMkLst>
        </pc:spChg>
        <pc:spChg chg="add mod">
          <ac:chgData name="Müller, Kurt (SI BP S TSS TR)" userId="e7e82c7e-80c6-42a5-ab71-24588885b7fe" providerId="ADAL" clId="{9FEA2841-5B76-4EDB-8984-1B2D4375FBAF}" dt="2021-07-23T13:39:57.709" v="1649" actId="1076"/>
          <ac:spMkLst>
            <pc:docMk/>
            <pc:sldMk cId="0" sldId="879"/>
            <ac:spMk id="8" creationId="{3AEDC090-C639-4EDD-9A07-BD3BFBA7B43A}"/>
          </ac:spMkLst>
        </pc:spChg>
        <pc:spChg chg="add mod">
          <ac:chgData name="Müller, Kurt (SI BP S TSS TR)" userId="e7e82c7e-80c6-42a5-ab71-24588885b7fe" providerId="ADAL" clId="{9FEA2841-5B76-4EDB-8984-1B2D4375FBAF}" dt="2021-07-23T13:39:57.709" v="1649" actId="1076"/>
          <ac:spMkLst>
            <pc:docMk/>
            <pc:sldMk cId="0" sldId="879"/>
            <ac:spMk id="9" creationId="{26C4C69A-C94D-4ADA-A1D8-8A7CAF429BB4}"/>
          </ac:spMkLst>
        </pc:spChg>
        <pc:spChg chg="add mod">
          <ac:chgData name="Müller, Kurt (SI BP S TSS TR)" userId="e7e82c7e-80c6-42a5-ab71-24588885b7fe" providerId="ADAL" clId="{9FEA2841-5B76-4EDB-8984-1B2D4375FBAF}" dt="2021-07-23T13:39:57.709" v="1649" actId="1076"/>
          <ac:spMkLst>
            <pc:docMk/>
            <pc:sldMk cId="0" sldId="879"/>
            <ac:spMk id="10" creationId="{C58C6867-E7C3-46CD-B6C0-D019AF11BDB0}"/>
          </ac:spMkLst>
        </pc:spChg>
        <pc:spChg chg="add mod">
          <ac:chgData name="Müller, Kurt (SI BP S TSS TR)" userId="e7e82c7e-80c6-42a5-ab71-24588885b7fe" providerId="ADAL" clId="{9FEA2841-5B76-4EDB-8984-1B2D4375FBAF}" dt="2021-07-23T13:39:57.709" v="1649" actId="1076"/>
          <ac:spMkLst>
            <pc:docMk/>
            <pc:sldMk cId="0" sldId="879"/>
            <ac:spMk id="11" creationId="{53D71148-3A9B-4B4C-94E1-78E5EAC8969D}"/>
          </ac:spMkLst>
        </pc:spChg>
        <pc:spChg chg="add del mod">
          <ac:chgData name="Müller, Kurt (SI BP S TSS TR)" userId="e7e82c7e-80c6-42a5-ab71-24588885b7fe" providerId="ADAL" clId="{9FEA2841-5B76-4EDB-8984-1B2D4375FBAF}" dt="2021-07-23T13:49:06.005" v="1824" actId="478"/>
          <ac:spMkLst>
            <pc:docMk/>
            <pc:sldMk cId="0" sldId="879"/>
            <ac:spMk id="12" creationId="{D5219506-BD22-4EEF-986D-C3274BA539B0}"/>
          </ac:spMkLst>
        </pc:spChg>
        <pc:spChg chg="mod">
          <ac:chgData name="Müller, Kurt (SI BP S TSS TR)" userId="e7e82c7e-80c6-42a5-ab71-24588885b7fe" providerId="ADAL" clId="{9FEA2841-5B76-4EDB-8984-1B2D4375FBAF}" dt="2021-07-23T13:49:02.764" v="1823" actId="1076"/>
          <ac:spMkLst>
            <pc:docMk/>
            <pc:sldMk cId="0" sldId="879"/>
            <ac:spMk id="14" creationId="{B640A34B-DA28-4685-A0EA-D377D6617441}"/>
          </ac:spMkLst>
        </pc:spChg>
        <pc:spChg chg="mod">
          <ac:chgData name="Müller, Kurt (SI BP S TSS TR)" userId="e7e82c7e-80c6-42a5-ab71-24588885b7fe" providerId="ADAL" clId="{9FEA2841-5B76-4EDB-8984-1B2D4375FBAF}" dt="2021-07-23T13:49:02.764" v="1823" actId="1076"/>
          <ac:spMkLst>
            <pc:docMk/>
            <pc:sldMk cId="0" sldId="879"/>
            <ac:spMk id="16" creationId="{246EFE6B-0382-4E03-BE89-27A78799F25E}"/>
          </ac:spMkLst>
        </pc:spChg>
        <pc:spChg chg="mod">
          <ac:chgData name="Müller, Kurt (SI BP S TSS TR)" userId="e7e82c7e-80c6-42a5-ab71-24588885b7fe" providerId="ADAL" clId="{9FEA2841-5B76-4EDB-8984-1B2D4375FBAF}" dt="2021-07-23T13:48:58.639" v="1822" actId="20577"/>
          <ac:spMkLst>
            <pc:docMk/>
            <pc:sldMk cId="0" sldId="879"/>
            <ac:spMk id="30" creationId="{D1F1B894-FDB3-416D-9ED1-EBB2AF3721C5}"/>
          </ac:spMkLst>
        </pc:spChg>
        <pc:spChg chg="del">
          <ac:chgData name="Müller, Kurt (SI BP S TSS TR)" userId="e7e82c7e-80c6-42a5-ab71-24588885b7fe" providerId="ADAL" clId="{9FEA2841-5B76-4EDB-8984-1B2D4375FBAF}" dt="2021-07-23T13:39:25.174" v="1635" actId="478"/>
          <ac:spMkLst>
            <pc:docMk/>
            <pc:sldMk cId="0" sldId="879"/>
            <ac:spMk id="31" creationId="{0CDBA1CE-F864-4CEB-B694-916162325CAE}"/>
          </ac:spMkLst>
        </pc:spChg>
        <pc:spChg chg="mod">
          <ac:chgData name="Müller, Kurt (SI BP S TSS TR)" userId="e7e82c7e-80c6-42a5-ab71-24588885b7fe" providerId="ADAL" clId="{9FEA2841-5B76-4EDB-8984-1B2D4375FBAF}" dt="2021-07-23T13:39:30.245" v="1637" actId="1076"/>
          <ac:spMkLst>
            <pc:docMk/>
            <pc:sldMk cId="0" sldId="879"/>
            <ac:spMk id="4101" creationId="{453C307C-DA2E-4EBA-83DB-FE22A44D79FB}"/>
          </ac:spMkLst>
        </pc:spChg>
        <pc:grpChg chg="add mod">
          <ac:chgData name="Müller, Kurt (SI BP S TSS TR)" userId="e7e82c7e-80c6-42a5-ab71-24588885b7fe" providerId="ADAL" clId="{9FEA2841-5B76-4EDB-8984-1B2D4375FBAF}" dt="2021-07-23T13:49:02.764" v="1823" actId="1076"/>
          <ac:grpSpMkLst>
            <pc:docMk/>
            <pc:sldMk cId="0" sldId="879"/>
            <ac:grpSpMk id="13" creationId="{4A6E16D2-26EA-4291-8FF6-037C01F3E41A}"/>
          </ac:grpSpMkLst>
        </pc:grpChg>
        <pc:grpChg chg="mod">
          <ac:chgData name="Müller, Kurt (SI BP S TSS TR)" userId="e7e82c7e-80c6-42a5-ab71-24588885b7fe" providerId="ADAL" clId="{9FEA2841-5B76-4EDB-8984-1B2D4375FBAF}" dt="2021-07-23T13:49:02.764" v="1823" actId="1076"/>
          <ac:grpSpMkLst>
            <pc:docMk/>
            <pc:sldMk cId="0" sldId="879"/>
            <ac:grpSpMk id="15" creationId="{2D16C1DE-C570-4489-87A1-4C5869317B30}"/>
          </ac:grpSpMkLst>
        </pc:grpChg>
        <pc:picChg chg="add mod">
          <ac:chgData name="Müller, Kurt (SI BP S TSS TR)" userId="e7e82c7e-80c6-42a5-ab71-24588885b7fe" providerId="ADAL" clId="{9FEA2841-5B76-4EDB-8984-1B2D4375FBAF}" dt="2021-07-23T13:39:57.709" v="1649" actId="1076"/>
          <ac:picMkLst>
            <pc:docMk/>
            <pc:sldMk cId="0" sldId="879"/>
            <ac:picMk id="7" creationId="{FF5B2D62-2BFF-4BB1-B8FD-D6A25D9CBD3E}"/>
          </ac:picMkLst>
        </pc:picChg>
        <pc:picChg chg="mod">
          <ac:chgData name="Müller, Kurt (SI BP S TSS TR)" userId="e7e82c7e-80c6-42a5-ab71-24588885b7fe" providerId="ADAL" clId="{9FEA2841-5B76-4EDB-8984-1B2D4375FBAF}" dt="2021-07-23T13:49:02.764" v="1823" actId="1076"/>
          <ac:picMkLst>
            <pc:docMk/>
            <pc:sldMk cId="0" sldId="879"/>
            <ac:picMk id="17" creationId="{8B313751-2272-4FF6-8FD8-255380D677E0}"/>
          </ac:picMkLst>
        </pc:picChg>
      </pc:sldChg>
      <pc:sldChg chg="modSp mod modShow">
        <pc:chgData name="Müller, Kurt (SI BP S TSS TR)" userId="e7e82c7e-80c6-42a5-ab71-24588885b7fe" providerId="ADAL" clId="{9FEA2841-5B76-4EDB-8984-1B2D4375FBAF}" dt="2021-07-23T13:39:47.493" v="1646" actId="1076"/>
        <pc:sldMkLst>
          <pc:docMk/>
          <pc:sldMk cId="0" sldId="880"/>
        </pc:sldMkLst>
        <pc:spChg chg="mod">
          <ac:chgData name="Müller, Kurt (SI BP S TSS TR)" userId="e7e82c7e-80c6-42a5-ab71-24588885b7fe" providerId="ADAL" clId="{9FEA2841-5B76-4EDB-8984-1B2D4375FBAF}" dt="2021-07-23T13:39:44.181" v="1644" actId="14100"/>
          <ac:spMkLst>
            <pc:docMk/>
            <pc:sldMk cId="0" sldId="880"/>
            <ac:spMk id="5126" creationId="{4D340B6F-4575-4063-9EDB-03F94CB6A645}"/>
          </ac:spMkLst>
        </pc:spChg>
        <pc:picChg chg="mod">
          <ac:chgData name="Müller, Kurt (SI BP S TSS TR)" userId="e7e82c7e-80c6-42a5-ab71-24588885b7fe" providerId="ADAL" clId="{9FEA2841-5B76-4EDB-8984-1B2D4375FBAF}" dt="2021-07-23T13:39:47.493" v="1646" actId="1076"/>
          <ac:picMkLst>
            <pc:docMk/>
            <pc:sldMk cId="0" sldId="880"/>
            <ac:picMk id="5124" creationId="{2116A647-C071-43CF-A4CA-588F5B1F0452}"/>
          </ac:picMkLst>
        </pc:picChg>
      </pc:sldChg>
      <pc:sldChg chg="mod modShow">
        <pc:chgData name="Müller, Kurt (SI BP S TSS TR)" userId="e7e82c7e-80c6-42a5-ab71-24588885b7fe" providerId="ADAL" clId="{9FEA2841-5B76-4EDB-8984-1B2D4375FBAF}" dt="2021-07-23T13:38:41.364" v="1632" actId="729"/>
        <pc:sldMkLst>
          <pc:docMk/>
          <pc:sldMk cId="0" sldId="881"/>
        </pc:sldMkLst>
      </pc:sldChg>
      <pc:sldChg chg="mod modShow">
        <pc:chgData name="Müller, Kurt (SI BP S TSS TR)" userId="e7e82c7e-80c6-42a5-ab71-24588885b7fe" providerId="ADAL" clId="{9FEA2841-5B76-4EDB-8984-1B2D4375FBAF}" dt="2021-07-23T13:39:12.412" v="1633" actId="729"/>
        <pc:sldMkLst>
          <pc:docMk/>
          <pc:sldMk cId="0" sldId="882"/>
        </pc:sldMkLst>
      </pc:sldChg>
      <pc:sldChg chg="addSp modSp del mod">
        <pc:chgData name="Müller, Kurt (SI BP S TSS TR)" userId="e7e82c7e-80c6-42a5-ab71-24588885b7fe" providerId="ADAL" clId="{9FEA2841-5B76-4EDB-8984-1B2D4375FBAF}" dt="2021-07-21T09:00:41.002" v="775" actId="2696"/>
        <pc:sldMkLst>
          <pc:docMk/>
          <pc:sldMk cId="169197447" sldId="959"/>
        </pc:sldMkLst>
        <pc:spChg chg="add mod">
          <ac:chgData name="Müller, Kurt (SI BP S TSS TR)" userId="e7e82c7e-80c6-42a5-ab71-24588885b7fe" providerId="ADAL" clId="{9FEA2841-5B76-4EDB-8984-1B2D4375FBAF}" dt="2021-06-10T13:35:20.200" v="43" actId="20577"/>
          <ac:spMkLst>
            <pc:docMk/>
            <pc:sldMk cId="169197447" sldId="959"/>
            <ac:spMk id="4" creationId="{C14EC4D8-C86C-4C54-A843-C69ED7086F31}"/>
          </ac:spMkLst>
        </pc:spChg>
      </pc:sldChg>
      <pc:sldChg chg="add">
        <pc:chgData name="Müller, Kurt (SI BP S TSS TR)" userId="e7e82c7e-80c6-42a5-ab71-24588885b7fe" providerId="ADAL" clId="{9FEA2841-5B76-4EDB-8984-1B2D4375FBAF}" dt="2021-07-21T09:11:21.418" v="922"/>
        <pc:sldMkLst>
          <pc:docMk/>
          <pc:sldMk cId="1838077587" sldId="959"/>
        </pc:sldMkLst>
      </pc:sldChg>
      <pc:sldChg chg="add del">
        <pc:chgData name="Müller, Kurt (SI BP S TSS TR)" userId="e7e82c7e-80c6-42a5-ab71-24588885b7fe" providerId="ADAL" clId="{9FEA2841-5B76-4EDB-8984-1B2D4375FBAF}" dt="2021-07-21T09:11:18.308" v="921" actId="2696"/>
        <pc:sldMkLst>
          <pc:docMk/>
          <pc:sldMk cId="4127826900" sldId="959"/>
        </pc:sldMkLst>
      </pc:sldChg>
      <pc:sldChg chg="addSp delSp modSp del mod">
        <pc:chgData name="Müller, Kurt (SI BP S TSS TR)" userId="e7e82c7e-80c6-42a5-ab71-24588885b7fe" providerId="ADAL" clId="{9FEA2841-5B76-4EDB-8984-1B2D4375FBAF}" dt="2021-06-22T09:01:59.668" v="760" actId="47"/>
        <pc:sldMkLst>
          <pc:docMk/>
          <pc:sldMk cId="62519991" sldId="2397"/>
        </pc:sldMkLst>
        <pc:spChg chg="add del mod">
          <ac:chgData name="Müller, Kurt (SI BP S TSS TR)" userId="e7e82c7e-80c6-42a5-ab71-24588885b7fe" providerId="ADAL" clId="{9FEA2841-5B76-4EDB-8984-1B2D4375FBAF}" dt="2021-06-22T09:01:14.975" v="752" actId="478"/>
          <ac:spMkLst>
            <pc:docMk/>
            <pc:sldMk cId="62519991" sldId="2397"/>
            <ac:spMk id="14" creationId="{2927C46E-4C94-4C20-8DC1-BDB1E0900AA3}"/>
          </ac:spMkLst>
        </pc:spChg>
        <pc:spChg chg="mod">
          <ac:chgData name="Müller, Kurt (SI BP S TSS TR)" userId="e7e82c7e-80c6-42a5-ab71-24588885b7fe" providerId="ADAL" clId="{9FEA2841-5B76-4EDB-8984-1B2D4375FBAF}" dt="2021-06-22T09:01:12.446" v="751" actId="207"/>
          <ac:spMkLst>
            <pc:docMk/>
            <pc:sldMk cId="62519991" sldId="2397"/>
            <ac:spMk id="60" creationId="{2E892B46-7CB8-47E4-8C41-E44206DBB822}"/>
          </ac:spMkLst>
        </pc:spChg>
        <pc:picChg chg="mod">
          <ac:chgData name="Müller, Kurt (SI BP S TSS TR)" userId="e7e82c7e-80c6-42a5-ab71-24588885b7fe" providerId="ADAL" clId="{9FEA2841-5B76-4EDB-8984-1B2D4375FBAF}" dt="2021-06-10T13:34:30.783" v="6" actId="1076"/>
          <ac:picMkLst>
            <pc:docMk/>
            <pc:sldMk cId="62519991" sldId="2397"/>
            <ac:picMk id="4" creationId="{672B1F64-C71F-4F16-ABE5-9E840E6BAE3D}"/>
          </ac:picMkLst>
        </pc:picChg>
        <pc:picChg chg="mod">
          <ac:chgData name="Müller, Kurt (SI BP S TSS TR)" userId="e7e82c7e-80c6-42a5-ab71-24588885b7fe" providerId="ADAL" clId="{9FEA2841-5B76-4EDB-8984-1B2D4375FBAF}" dt="2021-06-22T09:01:56.885" v="759" actId="1076"/>
          <ac:picMkLst>
            <pc:docMk/>
            <pc:sldMk cId="62519991" sldId="2397"/>
            <ac:picMk id="5" creationId="{01872989-6154-4DC6-9578-D2EEA8C31707}"/>
          </ac:picMkLst>
        </pc:picChg>
        <pc:picChg chg="del">
          <ac:chgData name="Müller, Kurt (SI BP S TSS TR)" userId="e7e82c7e-80c6-42a5-ab71-24588885b7fe" providerId="ADAL" clId="{9FEA2841-5B76-4EDB-8984-1B2D4375FBAF}" dt="2021-06-22T09:01:50.543" v="758" actId="478"/>
          <ac:picMkLst>
            <pc:docMk/>
            <pc:sldMk cId="62519991" sldId="2397"/>
            <ac:picMk id="7" creationId="{3C3084D4-0420-49E3-9287-AD7FC987A4D2}"/>
          </ac:picMkLst>
        </pc:picChg>
      </pc:sldChg>
      <pc:sldChg chg="del">
        <pc:chgData name="Müller, Kurt (SI BP S TSS TR)" userId="e7e82c7e-80c6-42a5-ab71-24588885b7fe" providerId="ADAL" clId="{9FEA2841-5B76-4EDB-8984-1B2D4375FBAF}" dt="2021-06-22T08:58:42.295" v="721" actId="47"/>
        <pc:sldMkLst>
          <pc:docMk/>
          <pc:sldMk cId="2638777451" sldId="2409"/>
        </pc:sldMkLst>
      </pc:sldChg>
      <pc:sldChg chg="addSp delSp modSp mod">
        <pc:chgData name="Müller, Kurt (SI BP S TSS TR)" userId="e7e82c7e-80c6-42a5-ab71-24588885b7fe" providerId="ADAL" clId="{9FEA2841-5B76-4EDB-8984-1B2D4375FBAF}" dt="2021-06-22T08:51:18.894" v="615" actId="1076"/>
        <pc:sldMkLst>
          <pc:docMk/>
          <pc:sldMk cId="1217175717" sldId="2415"/>
        </pc:sldMkLst>
        <pc:spChg chg="mod">
          <ac:chgData name="Müller, Kurt (SI BP S TSS TR)" userId="e7e82c7e-80c6-42a5-ab71-24588885b7fe" providerId="ADAL" clId="{9FEA2841-5B76-4EDB-8984-1B2D4375FBAF}" dt="2021-06-16T10:03:19.540" v="283" actId="1076"/>
          <ac:spMkLst>
            <pc:docMk/>
            <pc:sldMk cId="1217175717" sldId="2415"/>
            <ac:spMk id="7" creationId="{14B12527-125E-42D4-9E91-AD86F6DD68DF}"/>
          </ac:spMkLst>
        </pc:spChg>
        <pc:spChg chg="add del mod">
          <ac:chgData name="Müller, Kurt (SI BP S TSS TR)" userId="e7e82c7e-80c6-42a5-ab71-24588885b7fe" providerId="ADAL" clId="{9FEA2841-5B76-4EDB-8984-1B2D4375FBAF}" dt="2021-06-22T08:51:05.298" v="612" actId="478"/>
          <ac:spMkLst>
            <pc:docMk/>
            <pc:sldMk cId="1217175717" sldId="2415"/>
            <ac:spMk id="10" creationId="{442CA2B5-5262-4584-A8D3-33AE45A80ED1}"/>
          </ac:spMkLst>
        </pc:spChg>
        <pc:spChg chg="mod">
          <ac:chgData name="Müller, Kurt (SI BP S TSS TR)" userId="e7e82c7e-80c6-42a5-ab71-24588885b7fe" providerId="ADAL" clId="{9FEA2841-5B76-4EDB-8984-1B2D4375FBAF}" dt="2021-06-22T08:51:09.861" v="614" actId="1076"/>
          <ac:spMkLst>
            <pc:docMk/>
            <pc:sldMk cId="1217175717" sldId="2415"/>
            <ac:spMk id="23" creationId="{9F087C5A-D8B3-4C07-8146-E2A1E497AE02}"/>
          </ac:spMkLst>
        </pc:spChg>
        <pc:spChg chg="mod">
          <ac:chgData name="Müller, Kurt (SI BP S TSS TR)" userId="e7e82c7e-80c6-42a5-ab71-24588885b7fe" providerId="ADAL" clId="{9FEA2841-5B76-4EDB-8984-1B2D4375FBAF}" dt="2021-06-22T08:51:09.861" v="614" actId="1076"/>
          <ac:spMkLst>
            <pc:docMk/>
            <pc:sldMk cId="1217175717" sldId="2415"/>
            <ac:spMk id="25" creationId="{ED890EFA-4221-42E3-9001-78BF316122C4}"/>
          </ac:spMkLst>
        </pc:spChg>
        <pc:spChg chg="mod">
          <ac:chgData name="Müller, Kurt (SI BP S TSS TR)" userId="e7e82c7e-80c6-42a5-ab71-24588885b7fe" providerId="ADAL" clId="{9FEA2841-5B76-4EDB-8984-1B2D4375FBAF}" dt="2021-06-22T08:51:09.861" v="614" actId="1076"/>
          <ac:spMkLst>
            <pc:docMk/>
            <pc:sldMk cId="1217175717" sldId="2415"/>
            <ac:spMk id="31" creationId="{2C4A0621-0B7F-4712-A7E4-D9DE36F08389}"/>
          </ac:spMkLst>
        </pc:spChg>
        <pc:spChg chg="mod">
          <ac:chgData name="Müller, Kurt (SI BP S TSS TR)" userId="e7e82c7e-80c6-42a5-ab71-24588885b7fe" providerId="ADAL" clId="{9FEA2841-5B76-4EDB-8984-1B2D4375FBAF}" dt="2021-06-22T08:51:09.861" v="614" actId="1076"/>
          <ac:spMkLst>
            <pc:docMk/>
            <pc:sldMk cId="1217175717" sldId="2415"/>
            <ac:spMk id="32" creationId="{EF81387F-9354-409C-B29E-96ADC3167C8F}"/>
          </ac:spMkLst>
        </pc:spChg>
        <pc:spChg chg="mod">
          <ac:chgData name="Müller, Kurt (SI BP S TSS TR)" userId="e7e82c7e-80c6-42a5-ab71-24588885b7fe" providerId="ADAL" clId="{9FEA2841-5B76-4EDB-8984-1B2D4375FBAF}" dt="2021-06-22T08:51:09.861" v="614" actId="1076"/>
          <ac:spMkLst>
            <pc:docMk/>
            <pc:sldMk cId="1217175717" sldId="2415"/>
            <ac:spMk id="33" creationId="{050278F8-DED2-4B99-8F92-C8FDF3D38D46}"/>
          </ac:spMkLst>
        </pc:spChg>
        <pc:spChg chg="mod">
          <ac:chgData name="Müller, Kurt (SI BP S TSS TR)" userId="e7e82c7e-80c6-42a5-ab71-24588885b7fe" providerId="ADAL" clId="{9FEA2841-5B76-4EDB-8984-1B2D4375FBAF}" dt="2021-06-22T08:51:09.861" v="614" actId="1076"/>
          <ac:spMkLst>
            <pc:docMk/>
            <pc:sldMk cId="1217175717" sldId="2415"/>
            <ac:spMk id="34" creationId="{ACFD12B7-49B6-4916-B9FF-99EC27D58044}"/>
          </ac:spMkLst>
        </pc:spChg>
        <pc:spChg chg="mod">
          <ac:chgData name="Müller, Kurt (SI BP S TSS TR)" userId="e7e82c7e-80c6-42a5-ab71-24588885b7fe" providerId="ADAL" clId="{9FEA2841-5B76-4EDB-8984-1B2D4375FBAF}" dt="2021-06-22T08:51:09.861" v="614" actId="1076"/>
          <ac:spMkLst>
            <pc:docMk/>
            <pc:sldMk cId="1217175717" sldId="2415"/>
            <ac:spMk id="35" creationId="{3F1FD698-9B61-494E-A3BE-326853C7E6A0}"/>
          </ac:spMkLst>
        </pc:spChg>
        <pc:spChg chg="mod">
          <ac:chgData name="Müller, Kurt (SI BP S TSS TR)" userId="e7e82c7e-80c6-42a5-ab71-24588885b7fe" providerId="ADAL" clId="{9FEA2841-5B76-4EDB-8984-1B2D4375FBAF}" dt="2021-06-22T08:51:09.861" v="614" actId="1076"/>
          <ac:spMkLst>
            <pc:docMk/>
            <pc:sldMk cId="1217175717" sldId="2415"/>
            <ac:spMk id="36" creationId="{AC938EC3-4BB5-4FC3-929D-47653E78DF5D}"/>
          </ac:spMkLst>
        </pc:spChg>
        <pc:spChg chg="mod">
          <ac:chgData name="Müller, Kurt (SI BP S TSS TR)" userId="e7e82c7e-80c6-42a5-ab71-24588885b7fe" providerId="ADAL" clId="{9FEA2841-5B76-4EDB-8984-1B2D4375FBAF}" dt="2021-06-22T08:51:09.861" v="614" actId="1076"/>
          <ac:spMkLst>
            <pc:docMk/>
            <pc:sldMk cId="1217175717" sldId="2415"/>
            <ac:spMk id="37" creationId="{F2CD2873-84A5-40DE-82DD-9F1CEB247CFB}"/>
          </ac:spMkLst>
        </pc:spChg>
        <pc:spChg chg="mod">
          <ac:chgData name="Müller, Kurt (SI BP S TSS TR)" userId="e7e82c7e-80c6-42a5-ab71-24588885b7fe" providerId="ADAL" clId="{9FEA2841-5B76-4EDB-8984-1B2D4375FBAF}" dt="2021-06-22T08:51:09.861" v="614" actId="1076"/>
          <ac:spMkLst>
            <pc:docMk/>
            <pc:sldMk cId="1217175717" sldId="2415"/>
            <ac:spMk id="38" creationId="{337D7776-8193-4B3F-8F68-BB12D419FF66}"/>
          </ac:spMkLst>
        </pc:spChg>
        <pc:spChg chg="mod">
          <ac:chgData name="Müller, Kurt (SI BP S TSS TR)" userId="e7e82c7e-80c6-42a5-ab71-24588885b7fe" providerId="ADAL" clId="{9FEA2841-5B76-4EDB-8984-1B2D4375FBAF}" dt="2021-06-22T08:51:09.861" v="614" actId="1076"/>
          <ac:spMkLst>
            <pc:docMk/>
            <pc:sldMk cId="1217175717" sldId="2415"/>
            <ac:spMk id="39" creationId="{20AF89A9-275F-41EB-850E-A7FEE2168A31}"/>
          </ac:spMkLst>
        </pc:spChg>
        <pc:spChg chg="mod">
          <ac:chgData name="Müller, Kurt (SI BP S TSS TR)" userId="e7e82c7e-80c6-42a5-ab71-24588885b7fe" providerId="ADAL" clId="{9FEA2841-5B76-4EDB-8984-1B2D4375FBAF}" dt="2021-06-22T08:51:09.861" v="614" actId="1076"/>
          <ac:spMkLst>
            <pc:docMk/>
            <pc:sldMk cId="1217175717" sldId="2415"/>
            <ac:spMk id="40" creationId="{F09807B8-3FDF-4737-8394-FAE1C993F709}"/>
          </ac:spMkLst>
        </pc:spChg>
        <pc:spChg chg="mod">
          <ac:chgData name="Müller, Kurt (SI BP S TSS TR)" userId="e7e82c7e-80c6-42a5-ab71-24588885b7fe" providerId="ADAL" clId="{9FEA2841-5B76-4EDB-8984-1B2D4375FBAF}" dt="2021-06-22T08:51:09.861" v="614" actId="1076"/>
          <ac:spMkLst>
            <pc:docMk/>
            <pc:sldMk cId="1217175717" sldId="2415"/>
            <ac:spMk id="41" creationId="{DF40E61D-962C-43F5-A218-6242CCCD2993}"/>
          </ac:spMkLst>
        </pc:spChg>
        <pc:spChg chg="mod">
          <ac:chgData name="Müller, Kurt (SI BP S TSS TR)" userId="e7e82c7e-80c6-42a5-ab71-24588885b7fe" providerId="ADAL" clId="{9FEA2841-5B76-4EDB-8984-1B2D4375FBAF}" dt="2021-06-22T08:51:09.861" v="614" actId="1076"/>
          <ac:spMkLst>
            <pc:docMk/>
            <pc:sldMk cId="1217175717" sldId="2415"/>
            <ac:spMk id="42" creationId="{C5CC7937-FDE2-4530-9819-4DAB7C35A471}"/>
          </ac:spMkLst>
        </pc:spChg>
        <pc:spChg chg="add mod">
          <ac:chgData name="Müller, Kurt (SI BP S TSS TR)" userId="e7e82c7e-80c6-42a5-ab71-24588885b7fe" providerId="ADAL" clId="{9FEA2841-5B76-4EDB-8984-1B2D4375FBAF}" dt="2021-06-22T08:51:18.894" v="615" actId="1076"/>
          <ac:spMkLst>
            <pc:docMk/>
            <pc:sldMk cId="1217175717" sldId="2415"/>
            <ac:spMk id="45" creationId="{25D03255-4EE9-4709-9111-21F0851C4725}"/>
          </ac:spMkLst>
        </pc:spChg>
        <pc:spChg chg="add mod">
          <ac:chgData name="Müller, Kurt (SI BP S TSS TR)" userId="e7e82c7e-80c6-42a5-ab71-24588885b7fe" providerId="ADAL" clId="{9FEA2841-5B76-4EDB-8984-1B2D4375FBAF}" dt="2021-06-22T08:51:18.894" v="615" actId="1076"/>
          <ac:spMkLst>
            <pc:docMk/>
            <pc:sldMk cId="1217175717" sldId="2415"/>
            <ac:spMk id="46" creationId="{7674E7AA-81CB-4EEA-9E3E-83023D05C41D}"/>
          </ac:spMkLst>
        </pc:spChg>
        <pc:grpChg chg="mod">
          <ac:chgData name="Müller, Kurt (SI BP S TSS TR)" userId="e7e82c7e-80c6-42a5-ab71-24588885b7fe" providerId="ADAL" clId="{9FEA2841-5B76-4EDB-8984-1B2D4375FBAF}" dt="2021-06-16T09:26:10.801" v="44" actId="1076"/>
          <ac:grpSpMkLst>
            <pc:docMk/>
            <pc:sldMk cId="1217175717" sldId="2415"/>
            <ac:grpSpMk id="4" creationId="{E351C22B-8A04-476B-A645-B6AA3B1562A2}"/>
          </ac:grpSpMkLst>
        </pc:grpChg>
        <pc:grpChg chg="mod">
          <ac:chgData name="Müller, Kurt (SI BP S TSS TR)" userId="e7e82c7e-80c6-42a5-ab71-24588885b7fe" providerId="ADAL" clId="{9FEA2841-5B76-4EDB-8984-1B2D4375FBAF}" dt="2021-06-16T10:03:19.540" v="283" actId="1076"/>
          <ac:grpSpMkLst>
            <pc:docMk/>
            <pc:sldMk cId="1217175717" sldId="2415"/>
            <ac:grpSpMk id="8" creationId="{32BB6083-29B0-4D20-BE91-427A1D91E6D6}"/>
          </ac:grpSpMkLst>
        </pc:grpChg>
        <pc:grpChg chg="mod">
          <ac:chgData name="Müller, Kurt (SI BP S TSS TR)" userId="e7e82c7e-80c6-42a5-ab71-24588885b7fe" providerId="ADAL" clId="{9FEA2841-5B76-4EDB-8984-1B2D4375FBAF}" dt="2021-06-22T08:51:09.861" v="614" actId="1076"/>
          <ac:grpSpMkLst>
            <pc:docMk/>
            <pc:sldMk cId="1217175717" sldId="2415"/>
            <ac:grpSpMk id="21" creationId="{F87C0937-C7B6-437C-B4E4-6733F094EE98}"/>
          </ac:grpSpMkLst>
        </pc:grpChg>
        <pc:grpChg chg="mod">
          <ac:chgData name="Müller, Kurt (SI BP S TSS TR)" userId="e7e82c7e-80c6-42a5-ab71-24588885b7fe" providerId="ADAL" clId="{9FEA2841-5B76-4EDB-8984-1B2D4375FBAF}" dt="2021-06-22T08:51:09.861" v="614" actId="1076"/>
          <ac:grpSpMkLst>
            <pc:docMk/>
            <pc:sldMk cId="1217175717" sldId="2415"/>
            <ac:grpSpMk id="22" creationId="{1D2EE257-A97C-4057-94CC-98C0E9722EF9}"/>
          </ac:grpSpMkLst>
        </pc:grpChg>
        <pc:grpChg chg="mod">
          <ac:chgData name="Müller, Kurt (SI BP S TSS TR)" userId="e7e82c7e-80c6-42a5-ab71-24588885b7fe" providerId="ADAL" clId="{9FEA2841-5B76-4EDB-8984-1B2D4375FBAF}" dt="2021-06-22T08:51:09.861" v="614" actId="1076"/>
          <ac:grpSpMkLst>
            <pc:docMk/>
            <pc:sldMk cId="1217175717" sldId="2415"/>
            <ac:grpSpMk id="24" creationId="{8FCB56B1-BDD1-4578-8548-22EA57EA9420}"/>
          </ac:grpSpMkLst>
        </pc:grpChg>
        <pc:picChg chg="mod">
          <ac:chgData name="Müller, Kurt (SI BP S TSS TR)" userId="e7e82c7e-80c6-42a5-ab71-24588885b7fe" providerId="ADAL" clId="{9FEA2841-5B76-4EDB-8984-1B2D4375FBAF}" dt="2021-06-16T10:03:19.540" v="283" actId="1076"/>
          <ac:picMkLst>
            <pc:docMk/>
            <pc:sldMk cId="1217175717" sldId="2415"/>
            <ac:picMk id="14" creationId="{65024F8A-0004-4209-BC86-5F8F5CC7CC82}"/>
          </ac:picMkLst>
        </pc:picChg>
        <pc:picChg chg="mod">
          <ac:chgData name="Müller, Kurt (SI BP S TSS TR)" userId="e7e82c7e-80c6-42a5-ab71-24588885b7fe" providerId="ADAL" clId="{9FEA2841-5B76-4EDB-8984-1B2D4375FBAF}" dt="2021-06-16T10:03:19.540" v="283" actId="1076"/>
          <ac:picMkLst>
            <pc:docMk/>
            <pc:sldMk cId="1217175717" sldId="2415"/>
            <ac:picMk id="16" creationId="{A265C3DF-1A98-4083-8E80-7171C4BB29AF}"/>
          </ac:picMkLst>
        </pc:picChg>
        <pc:picChg chg="mod">
          <ac:chgData name="Müller, Kurt (SI BP S TSS TR)" userId="e7e82c7e-80c6-42a5-ab71-24588885b7fe" providerId="ADAL" clId="{9FEA2841-5B76-4EDB-8984-1B2D4375FBAF}" dt="2021-06-16T10:03:19.540" v="283" actId="1076"/>
          <ac:picMkLst>
            <pc:docMk/>
            <pc:sldMk cId="1217175717" sldId="2415"/>
            <ac:picMk id="18" creationId="{3CB22C68-FE45-41F5-BE1E-10040D0A85BD}"/>
          </ac:picMkLst>
        </pc:picChg>
        <pc:picChg chg="mod">
          <ac:chgData name="Müller, Kurt (SI BP S TSS TR)" userId="e7e82c7e-80c6-42a5-ab71-24588885b7fe" providerId="ADAL" clId="{9FEA2841-5B76-4EDB-8984-1B2D4375FBAF}" dt="2021-06-16T10:03:19.540" v="283" actId="1076"/>
          <ac:picMkLst>
            <pc:docMk/>
            <pc:sldMk cId="1217175717" sldId="2415"/>
            <ac:picMk id="20" creationId="{10E1630A-EB2F-4136-864D-44AF840B977B}"/>
          </ac:picMkLst>
        </pc:picChg>
        <pc:picChg chg="add del mod">
          <ac:chgData name="Müller, Kurt (SI BP S TSS TR)" userId="e7e82c7e-80c6-42a5-ab71-24588885b7fe" providerId="ADAL" clId="{9FEA2841-5B76-4EDB-8984-1B2D4375FBAF}" dt="2021-06-16T09:32:41.859" v="47" actId="21"/>
          <ac:picMkLst>
            <pc:docMk/>
            <pc:sldMk cId="1217175717" sldId="2415"/>
            <ac:picMk id="43" creationId="{E0EEF25C-2B7F-42AD-922D-5294E52C8088}"/>
          </ac:picMkLst>
        </pc:picChg>
        <pc:picChg chg="add del mod">
          <ac:chgData name="Müller, Kurt (SI BP S TSS TR)" userId="e7e82c7e-80c6-42a5-ab71-24588885b7fe" providerId="ADAL" clId="{9FEA2841-5B76-4EDB-8984-1B2D4375FBAF}" dt="2021-06-22T08:51:06.306" v="613" actId="478"/>
          <ac:picMkLst>
            <pc:docMk/>
            <pc:sldMk cId="1217175717" sldId="2415"/>
            <ac:picMk id="44" creationId="{C1F50641-BB71-452D-9467-7F7CB44455BE}"/>
          </ac:picMkLst>
        </pc:picChg>
      </pc:sldChg>
      <pc:sldChg chg="addSp delSp modSp mod">
        <pc:chgData name="Müller, Kurt (SI BP S TSS TR)" userId="e7e82c7e-80c6-42a5-ab71-24588885b7fe" providerId="ADAL" clId="{9FEA2841-5B76-4EDB-8984-1B2D4375FBAF}" dt="2021-07-23T13:47:25.325" v="1815" actId="478"/>
        <pc:sldMkLst>
          <pc:docMk/>
          <pc:sldMk cId="1623929652" sldId="2434"/>
        </pc:sldMkLst>
        <pc:spChg chg="add del mod">
          <ac:chgData name="Müller, Kurt (SI BP S TSS TR)" userId="e7e82c7e-80c6-42a5-ab71-24588885b7fe" providerId="ADAL" clId="{9FEA2841-5B76-4EDB-8984-1B2D4375FBAF}" dt="2021-07-23T13:46:59.221" v="1810" actId="478"/>
          <ac:spMkLst>
            <pc:docMk/>
            <pc:sldMk cId="1623929652" sldId="2434"/>
            <ac:spMk id="42" creationId="{EA137A5E-B9B7-4338-B5CF-F59FC1319007}"/>
          </ac:spMkLst>
        </pc:spChg>
        <pc:spChg chg="mod">
          <ac:chgData name="Müller, Kurt (SI BP S TSS TR)" userId="e7e82c7e-80c6-42a5-ab71-24588885b7fe" providerId="ADAL" clId="{9FEA2841-5B76-4EDB-8984-1B2D4375FBAF}" dt="2021-07-23T13:46:57.196" v="1809" actId="1076"/>
          <ac:spMkLst>
            <pc:docMk/>
            <pc:sldMk cId="1623929652" sldId="2434"/>
            <ac:spMk id="45" creationId="{D6997378-1E9F-4745-9410-D502668FF2FB}"/>
          </ac:spMkLst>
        </pc:spChg>
        <pc:spChg chg="mod">
          <ac:chgData name="Müller, Kurt (SI BP S TSS TR)" userId="e7e82c7e-80c6-42a5-ab71-24588885b7fe" providerId="ADAL" clId="{9FEA2841-5B76-4EDB-8984-1B2D4375FBAF}" dt="2021-07-23T13:46:57.196" v="1809" actId="1076"/>
          <ac:spMkLst>
            <pc:docMk/>
            <pc:sldMk cId="1623929652" sldId="2434"/>
            <ac:spMk id="49" creationId="{6AFC75B0-FD8A-4BB3-B283-EDBC701ABD5C}"/>
          </ac:spMkLst>
        </pc:spChg>
        <pc:spChg chg="mod">
          <ac:chgData name="Müller, Kurt (SI BP S TSS TR)" userId="e7e82c7e-80c6-42a5-ab71-24588885b7fe" providerId="ADAL" clId="{9FEA2841-5B76-4EDB-8984-1B2D4375FBAF}" dt="2021-07-23T13:47:24.113" v="1814" actId="6549"/>
          <ac:spMkLst>
            <pc:docMk/>
            <pc:sldMk cId="1623929652" sldId="2434"/>
            <ac:spMk id="69" creationId="{0EBD6FEC-7EE9-440C-BC99-39CEBEC613F0}"/>
          </ac:spMkLst>
        </pc:spChg>
        <pc:grpChg chg="add del mod">
          <ac:chgData name="Müller, Kurt (SI BP S TSS TR)" userId="e7e82c7e-80c6-42a5-ab71-24588885b7fe" providerId="ADAL" clId="{9FEA2841-5B76-4EDB-8984-1B2D4375FBAF}" dt="2021-07-23T13:47:25.325" v="1815" actId="478"/>
          <ac:grpSpMkLst>
            <pc:docMk/>
            <pc:sldMk cId="1623929652" sldId="2434"/>
            <ac:grpSpMk id="43" creationId="{B1617682-E7F6-4C15-8EAA-8D6936669988}"/>
          </ac:grpSpMkLst>
        </pc:grpChg>
        <pc:grpChg chg="mod">
          <ac:chgData name="Müller, Kurt (SI BP S TSS TR)" userId="e7e82c7e-80c6-42a5-ab71-24588885b7fe" providerId="ADAL" clId="{9FEA2841-5B76-4EDB-8984-1B2D4375FBAF}" dt="2021-07-23T13:46:57.196" v="1809" actId="1076"/>
          <ac:grpSpMkLst>
            <pc:docMk/>
            <pc:sldMk cId="1623929652" sldId="2434"/>
            <ac:grpSpMk id="48" creationId="{DB62F174-14B4-47B9-BFEA-FC5808814CE0}"/>
          </ac:grpSpMkLst>
        </pc:grpChg>
        <pc:picChg chg="mod">
          <ac:chgData name="Müller, Kurt (SI BP S TSS TR)" userId="e7e82c7e-80c6-42a5-ab71-24588885b7fe" providerId="ADAL" clId="{9FEA2841-5B76-4EDB-8984-1B2D4375FBAF}" dt="2021-07-23T13:46:57.196" v="1809" actId="1076"/>
          <ac:picMkLst>
            <pc:docMk/>
            <pc:sldMk cId="1623929652" sldId="2434"/>
            <ac:picMk id="50" creationId="{38FEF5DC-C4FF-40A5-9A52-A1CB0214FA48}"/>
          </ac:picMkLst>
        </pc:picChg>
      </pc:sldChg>
      <pc:sldChg chg="addSp delSp modSp mod">
        <pc:chgData name="Müller, Kurt (SI BP S TSS TR)" userId="e7e82c7e-80c6-42a5-ab71-24588885b7fe" providerId="ADAL" clId="{9FEA2841-5B76-4EDB-8984-1B2D4375FBAF}" dt="2021-07-23T13:56:09.685" v="1841" actId="478"/>
        <pc:sldMkLst>
          <pc:docMk/>
          <pc:sldMk cId="825092287" sldId="2435"/>
        </pc:sldMkLst>
        <pc:spChg chg="mod">
          <ac:chgData name="Müller, Kurt (SI BP S TSS TR)" userId="e7e82c7e-80c6-42a5-ab71-24588885b7fe" providerId="ADAL" clId="{9FEA2841-5B76-4EDB-8984-1B2D4375FBAF}" dt="2021-06-16T13:38:30.215" v="296" actId="13926"/>
          <ac:spMkLst>
            <pc:docMk/>
            <pc:sldMk cId="825092287" sldId="2435"/>
            <ac:spMk id="3" creationId="{50E17820-B62F-4719-80D9-FEC26EF1D72C}"/>
          </ac:spMkLst>
        </pc:spChg>
        <pc:spChg chg="add del mod">
          <ac:chgData name="Müller, Kurt (SI BP S TSS TR)" userId="e7e82c7e-80c6-42a5-ab71-24588885b7fe" providerId="ADAL" clId="{9FEA2841-5B76-4EDB-8984-1B2D4375FBAF}" dt="2021-07-23T13:55:59" v="1833" actId="478"/>
          <ac:spMkLst>
            <pc:docMk/>
            <pc:sldMk cId="825092287" sldId="2435"/>
            <ac:spMk id="5" creationId="{E222626C-A4EF-41F5-8034-F9486E1E6FC0}"/>
          </ac:spMkLst>
        </pc:spChg>
        <pc:spChg chg="add del mod">
          <ac:chgData name="Müller, Kurt (SI BP S TSS TR)" userId="e7e82c7e-80c6-42a5-ab71-24588885b7fe" providerId="ADAL" clId="{9FEA2841-5B76-4EDB-8984-1B2D4375FBAF}" dt="2021-07-23T13:55:51.268" v="1830" actId="478"/>
          <ac:spMkLst>
            <pc:docMk/>
            <pc:sldMk cId="825092287" sldId="2435"/>
            <ac:spMk id="6" creationId="{C1ABA303-3CB9-413D-A9AF-6A61CF76E15B}"/>
          </ac:spMkLst>
        </pc:spChg>
        <pc:spChg chg="add del mod">
          <ac:chgData name="Müller, Kurt (SI BP S TSS TR)" userId="e7e82c7e-80c6-42a5-ab71-24588885b7fe" providerId="ADAL" clId="{9FEA2841-5B76-4EDB-8984-1B2D4375FBAF}" dt="2021-07-23T13:56:02.372" v="1836" actId="478"/>
          <ac:spMkLst>
            <pc:docMk/>
            <pc:sldMk cId="825092287" sldId="2435"/>
            <ac:spMk id="7" creationId="{4F8378F1-EC50-466E-972E-3B50691E412F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22" creationId="{AF761073-8DF1-458B-9E2F-4F0A068ADD0E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23" creationId="{338FF659-1302-416F-B7B7-F97C519A1DA2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26" creationId="{C778615C-666C-4DDD-A31E-B73CAC1070A1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27" creationId="{26DFE6A6-FE92-4145-A691-7EB881B2EBCD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28" creationId="{AAA243E4-38E2-41B5-ABFA-20FBA7C6AB88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29" creationId="{F10D8971-516F-4806-88DA-EE7C9163740C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30" creationId="{842DEE96-EAB0-44CF-93DE-803F4EA56ACD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31" creationId="{0DA81FC7-EA01-4744-A0F0-E4327FCF2136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34" creationId="{57018691-C940-472E-A046-1F865C6BEBC8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35" creationId="{A29870DC-5BB4-4293-929C-1A9AE74052BD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36" creationId="{D94D9496-E3C5-4DAA-A1D8-281C0A174931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37" creationId="{457A5466-6593-488B-AABD-DE460C3BFA4F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38" creationId="{3C91781E-D87C-404D-919E-13137FE21F47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54" creationId="{32E66FAD-2610-46E9-B6CD-263905AA9E42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55" creationId="{B4210E4D-60EB-44EC-872F-8B1B76186B6E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56" creationId="{CDF05A9F-BA65-4452-9AC2-8C30EAA6AEFF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57" creationId="{1C8A0742-176E-4CD7-9D55-94BD528B391E}"/>
          </ac:spMkLst>
        </pc:spChg>
        <pc:spChg chg="mod">
          <ac:chgData name="Müller, Kurt (SI BP S TSS TR)" userId="e7e82c7e-80c6-42a5-ab71-24588885b7fe" providerId="ADAL" clId="{9FEA2841-5B76-4EDB-8984-1B2D4375FBAF}" dt="2021-07-23T13:47:18.792" v="1813"/>
          <ac:spMkLst>
            <pc:docMk/>
            <pc:sldMk cId="825092287" sldId="2435"/>
            <ac:spMk id="58" creationId="{70AA70CA-E988-4926-9F8E-B6C23C616BFC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59" creationId="{BF8174D7-6A61-40B9-AD99-010C5BCA0926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61" creationId="{643ACF7F-E563-4737-AAEA-62AAC350D031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62" creationId="{1D5AF896-E284-4F4A-A986-645B2CF31245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63" creationId="{2FC1CD2B-CDF8-4FCC-A689-F7EDE6982491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64" creationId="{CCEADED5-2FED-49E0-B269-1FBA3408C653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65" creationId="{3BCE35AF-0D4E-4A45-B6CA-E1E3796EB413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66" creationId="{A2AF41FF-9A05-49AD-BA7F-8CE1033FEF8F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67" creationId="{C690C524-9F9A-4344-A3D3-35FF656AB560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68" creationId="{C9A89DDD-BDCF-4B1E-803C-355D32B6A024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69" creationId="{8ACE6B38-5515-4FCE-975D-521A4F08BFAE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70" creationId="{DAABB351-BBF0-4C9A-AE0C-384A4BAE2C3D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71" creationId="{2A181A1C-E5F9-4666-B2C8-B314E0FCA2D0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72" creationId="{DB76AAC6-A287-4086-B47B-EE828FA61736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73" creationId="{B94CAE20-94E8-4389-86F0-E6B7EF290C83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74" creationId="{B42BAD01-3948-4B34-BE5C-EBD852F68D84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75" creationId="{61229913-5064-4B69-982E-AFABFA186C6D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76" creationId="{DC868A65-742D-4ACC-A009-5237A983E484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77" creationId="{E51DA930-4B48-4F38-A1BE-0845065D0A8D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78" creationId="{9BA3AB1D-7041-4D0C-8C19-E1F6B72F5640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79" creationId="{44259AC1-00EF-4D28-819D-E94E48A2A657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80" creationId="{B0E4017A-7344-4738-A490-77BB0431CCE1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81" creationId="{FC39B2CE-3EBE-4849-8181-144D0FEC7BBB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82" creationId="{55AF9985-93BE-401B-9C42-9F766CB781E1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83" creationId="{AAB9F4E9-8627-41DD-BB83-4BF49B93877A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84" creationId="{5354452F-0A85-450F-A001-0750382D9C82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85" creationId="{8C99A73B-B557-4173-8950-CDC4126D5700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86" creationId="{6C59E23E-08B6-498C-894B-A411A65BE90B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87" creationId="{597DD3DA-11EB-405F-9A43-60B36F5A7951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88" creationId="{FAF3372C-B185-4D14-B888-A7450C0B989D}"/>
          </ac:spMkLst>
        </pc:spChg>
        <pc:spChg chg="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89" creationId="{2CAFA844-8F0B-4C23-8764-ACBC1B737F5B}"/>
          </ac:spMkLst>
        </pc:spChg>
        <pc:spChg chg="mod">
          <ac:chgData name="Müller, Kurt (SI BP S TSS TR)" userId="e7e82c7e-80c6-42a5-ab71-24588885b7fe" providerId="ADAL" clId="{9FEA2841-5B76-4EDB-8984-1B2D4375FBAF}" dt="2021-06-16T09:38:52.529" v="61"/>
          <ac:spMkLst>
            <pc:docMk/>
            <pc:sldMk cId="825092287" sldId="2435"/>
            <ac:spMk id="93" creationId="{072FC187-7B7F-41B2-B536-898EB9E2ABFC}"/>
          </ac:spMkLst>
        </pc:spChg>
        <pc:spChg chg="mod">
          <ac:chgData name="Müller, Kurt (SI BP S TSS TR)" userId="e7e82c7e-80c6-42a5-ab71-24588885b7fe" providerId="ADAL" clId="{9FEA2841-5B76-4EDB-8984-1B2D4375FBAF}" dt="2021-06-16T09:47:04.289" v="189" actId="6549"/>
          <ac:spMkLst>
            <pc:docMk/>
            <pc:sldMk cId="825092287" sldId="2435"/>
            <ac:spMk id="95" creationId="{2F044C33-236B-427C-9A6F-152A0CECE1C1}"/>
          </ac:spMkLst>
        </pc:spChg>
        <pc:spChg chg="add del mod">
          <ac:chgData name="Müller, Kurt (SI BP S TSS TR)" userId="e7e82c7e-80c6-42a5-ab71-24588885b7fe" providerId="ADAL" clId="{9FEA2841-5B76-4EDB-8984-1B2D4375FBAF}" dt="2021-07-23T13:55:46.012" v="1825" actId="478"/>
          <ac:spMkLst>
            <pc:docMk/>
            <pc:sldMk cId="825092287" sldId="2435"/>
            <ac:spMk id="96" creationId="{F12BCE1F-1457-42ED-98F8-86D6DFE9ADE2}"/>
          </ac:spMkLst>
        </pc:spChg>
        <pc:spChg chg="add del mod">
          <ac:chgData name="Müller, Kurt (SI BP S TSS TR)" userId="e7e82c7e-80c6-42a5-ab71-24588885b7fe" providerId="ADAL" clId="{9FEA2841-5B76-4EDB-8984-1B2D4375FBAF}" dt="2021-07-23T13:55:48.839" v="1828" actId="478"/>
          <ac:spMkLst>
            <pc:docMk/>
            <pc:sldMk cId="825092287" sldId="2435"/>
            <ac:spMk id="97" creationId="{25EAE0CF-706C-4357-9873-7204BA481270}"/>
          </ac:spMkLst>
        </pc:spChg>
        <pc:spChg chg="add del mod">
          <ac:chgData name="Müller, Kurt (SI BP S TSS TR)" userId="e7e82c7e-80c6-42a5-ab71-24588885b7fe" providerId="ADAL" clId="{9FEA2841-5B76-4EDB-8984-1B2D4375FBAF}" dt="2021-07-23T13:55:48.093" v="1827" actId="478"/>
          <ac:spMkLst>
            <pc:docMk/>
            <pc:sldMk cId="825092287" sldId="2435"/>
            <ac:spMk id="98" creationId="{CB818DE0-7641-425C-9422-038EFF84FF0F}"/>
          </ac:spMkLst>
        </pc:spChg>
        <pc:spChg chg="add del mod">
          <ac:chgData name="Müller, Kurt (SI BP S TSS TR)" userId="e7e82c7e-80c6-42a5-ab71-24588885b7fe" providerId="ADAL" clId="{9FEA2841-5B76-4EDB-8984-1B2D4375FBAF}" dt="2021-07-23T13:56:08.100" v="1840" actId="478"/>
          <ac:spMkLst>
            <pc:docMk/>
            <pc:sldMk cId="825092287" sldId="2435"/>
            <ac:spMk id="99" creationId="{F1DB17FB-ED9A-4E31-860A-FFFDC62D05BE}"/>
          </ac:spMkLst>
        </pc:spChg>
        <pc:spChg chg="add del mod">
          <ac:chgData name="Müller, Kurt (SI BP S TSS TR)" userId="e7e82c7e-80c6-42a5-ab71-24588885b7fe" providerId="ADAL" clId="{9FEA2841-5B76-4EDB-8984-1B2D4375FBAF}" dt="2021-07-23T13:56:00.580" v="1834" actId="478"/>
          <ac:spMkLst>
            <pc:docMk/>
            <pc:sldMk cId="825092287" sldId="2435"/>
            <ac:spMk id="100" creationId="{8531B8C8-17D7-4495-97F5-98CC15A1BFF6}"/>
          </ac:spMkLst>
        </pc:spChg>
        <pc:spChg chg="add 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103" creationId="{5A5EB6AC-2702-4F3F-A112-F9DC13E40FF7}"/>
          </ac:spMkLst>
        </pc:spChg>
        <pc:spChg chg="add 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104" creationId="{C5341DC1-004C-495C-A115-967C2D38FA01}"/>
          </ac:spMkLst>
        </pc:spChg>
        <pc:spChg chg="add del mod">
          <ac:chgData name="Müller, Kurt (SI BP S TSS TR)" userId="e7e82c7e-80c6-42a5-ab71-24588885b7fe" providerId="ADAL" clId="{9FEA2841-5B76-4EDB-8984-1B2D4375FBAF}" dt="2021-07-23T13:56:04.941" v="1838" actId="478"/>
          <ac:spMkLst>
            <pc:docMk/>
            <pc:sldMk cId="825092287" sldId="2435"/>
            <ac:spMk id="105" creationId="{FFC685EB-720F-438F-887F-9E61A3C0A6B5}"/>
          </ac:spMkLst>
        </pc:spChg>
        <pc:spChg chg="add 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106" creationId="{BE9EF91C-9717-4376-BCCE-5304673B51D7}"/>
          </ac:spMkLst>
        </pc:spChg>
        <pc:spChg chg="add mod">
          <ac:chgData name="Müller, Kurt (SI BP S TSS TR)" userId="e7e82c7e-80c6-42a5-ab71-24588885b7fe" providerId="ADAL" clId="{9FEA2841-5B76-4EDB-8984-1B2D4375FBAF}" dt="2021-07-23T13:55:57.768" v="1832" actId="1076"/>
          <ac:spMkLst>
            <pc:docMk/>
            <pc:sldMk cId="825092287" sldId="2435"/>
            <ac:spMk id="107" creationId="{2E71DFDD-8811-4399-8ABB-2BC31E3B10D5}"/>
          </ac:spMkLst>
        </pc:spChg>
        <pc:spChg chg="add del mod">
          <ac:chgData name="Müller, Kurt (SI BP S TSS TR)" userId="e7e82c7e-80c6-42a5-ab71-24588885b7fe" providerId="ADAL" clId="{9FEA2841-5B76-4EDB-8984-1B2D4375FBAF}" dt="2021-07-23T13:56:07.132" v="1839" actId="478"/>
          <ac:spMkLst>
            <pc:docMk/>
            <pc:sldMk cId="825092287" sldId="2435"/>
            <ac:spMk id="108" creationId="{F9EB72F0-377B-494A-A025-7393211321DF}"/>
          </ac:spMkLst>
        </pc:spChg>
        <pc:spChg chg="add del mod">
          <ac:chgData name="Müller, Kurt (SI BP S TSS TR)" userId="e7e82c7e-80c6-42a5-ab71-24588885b7fe" providerId="ADAL" clId="{9FEA2841-5B76-4EDB-8984-1B2D4375FBAF}" dt="2021-07-23T13:56:09.685" v="1841" actId="478"/>
          <ac:spMkLst>
            <pc:docMk/>
            <pc:sldMk cId="825092287" sldId="2435"/>
            <ac:spMk id="109" creationId="{18B4D7AD-0A42-4711-BFC3-A794A720B2C0}"/>
          </ac:spMkLst>
        </pc:spChg>
        <pc:spChg chg="add del mod">
          <ac:chgData name="Müller, Kurt (SI BP S TSS TR)" userId="e7e82c7e-80c6-42a5-ab71-24588885b7fe" providerId="ADAL" clId="{9FEA2841-5B76-4EDB-8984-1B2D4375FBAF}" dt="2021-07-23T13:56:01.533" v="1835" actId="478"/>
          <ac:spMkLst>
            <pc:docMk/>
            <pc:sldMk cId="825092287" sldId="2435"/>
            <ac:spMk id="110" creationId="{DB53748D-AFF3-4AEF-80A1-F1DD0CA4DBED}"/>
          </ac:spMkLst>
        </pc:spChg>
        <pc:spChg chg="mod">
          <ac:chgData name="Müller, Kurt (SI BP S TSS TR)" userId="e7e82c7e-80c6-42a5-ab71-24588885b7fe" providerId="ADAL" clId="{9FEA2841-5B76-4EDB-8984-1B2D4375FBAF}" dt="2021-07-23T13:47:09.844" v="1811"/>
          <ac:spMkLst>
            <pc:docMk/>
            <pc:sldMk cId="825092287" sldId="2435"/>
            <ac:spMk id="112" creationId="{B12F94A6-B624-4455-870B-18951E69331D}"/>
          </ac:spMkLst>
        </pc:spChg>
        <pc:spChg chg="mod">
          <ac:chgData name="Müller, Kurt (SI BP S TSS TR)" userId="e7e82c7e-80c6-42a5-ab71-24588885b7fe" providerId="ADAL" clId="{9FEA2841-5B76-4EDB-8984-1B2D4375FBAF}" dt="2021-07-23T13:47:09.844" v="1811"/>
          <ac:spMkLst>
            <pc:docMk/>
            <pc:sldMk cId="825092287" sldId="2435"/>
            <ac:spMk id="114" creationId="{E63694AE-9738-450D-85F4-0F4508A8811F}"/>
          </ac:spMkLst>
        </pc:spChg>
        <pc:grpChg chg="mod">
          <ac:chgData name="Müller, Kurt (SI BP S TSS TR)" userId="e7e82c7e-80c6-42a5-ab71-24588885b7fe" providerId="ADAL" clId="{9FEA2841-5B76-4EDB-8984-1B2D4375FBAF}" dt="2021-07-23T13:55:57.768" v="1832" actId="1076"/>
          <ac:grpSpMkLst>
            <pc:docMk/>
            <pc:sldMk cId="825092287" sldId="2435"/>
            <ac:grpSpMk id="21" creationId="{09BAFB46-7A25-497A-AF7B-0F1F8C31618D}"/>
          </ac:grpSpMkLst>
        </pc:grpChg>
        <pc:grpChg chg="add del mod">
          <ac:chgData name="Müller, Kurt (SI BP S TSS TR)" userId="e7e82c7e-80c6-42a5-ab71-24588885b7fe" providerId="ADAL" clId="{9FEA2841-5B76-4EDB-8984-1B2D4375FBAF}" dt="2021-07-23T13:55:47.293" v="1826" actId="478"/>
          <ac:grpSpMkLst>
            <pc:docMk/>
            <pc:sldMk cId="825092287" sldId="2435"/>
            <ac:grpSpMk id="91" creationId="{F990C496-31AA-4B5E-AA9C-02C581AC36F2}"/>
          </ac:grpSpMkLst>
        </pc:grpChg>
        <pc:grpChg chg="add mod">
          <ac:chgData name="Müller, Kurt (SI BP S TSS TR)" userId="e7e82c7e-80c6-42a5-ab71-24588885b7fe" providerId="ADAL" clId="{9FEA2841-5B76-4EDB-8984-1B2D4375FBAF}" dt="2021-07-23T13:47:09.844" v="1811"/>
          <ac:grpSpMkLst>
            <pc:docMk/>
            <pc:sldMk cId="825092287" sldId="2435"/>
            <ac:grpSpMk id="111" creationId="{FE12CB9F-EB6D-441E-B0DA-D8ECCDE18134}"/>
          </ac:grpSpMkLst>
        </pc:grpChg>
        <pc:grpChg chg="mod">
          <ac:chgData name="Müller, Kurt (SI BP S TSS TR)" userId="e7e82c7e-80c6-42a5-ab71-24588885b7fe" providerId="ADAL" clId="{9FEA2841-5B76-4EDB-8984-1B2D4375FBAF}" dt="2021-07-23T13:47:09.844" v="1811"/>
          <ac:grpSpMkLst>
            <pc:docMk/>
            <pc:sldMk cId="825092287" sldId="2435"/>
            <ac:grpSpMk id="113" creationId="{AB5E6D80-915B-40C9-B17F-E3B9A114A0D0}"/>
          </ac:grpSpMkLst>
        </pc:grpChg>
        <pc:picChg chg="mod">
          <ac:chgData name="Müller, Kurt (SI BP S TSS TR)" userId="e7e82c7e-80c6-42a5-ab71-24588885b7fe" providerId="ADAL" clId="{9FEA2841-5B76-4EDB-8984-1B2D4375FBAF}" dt="2021-06-16T09:38:52.529" v="61"/>
          <ac:picMkLst>
            <pc:docMk/>
            <pc:sldMk cId="825092287" sldId="2435"/>
            <ac:picMk id="92" creationId="{2BBC2A00-CBF0-4B17-BCE9-5ECCE7CD1483}"/>
          </ac:picMkLst>
        </pc:picChg>
        <pc:picChg chg="del mod">
          <ac:chgData name="Müller, Kurt (SI BP S TSS TR)" userId="e7e82c7e-80c6-42a5-ab71-24588885b7fe" providerId="ADAL" clId="{9FEA2841-5B76-4EDB-8984-1B2D4375FBAF}" dt="2021-06-16T09:38:56.167" v="63" actId="478"/>
          <ac:picMkLst>
            <pc:docMk/>
            <pc:sldMk cId="825092287" sldId="2435"/>
            <ac:picMk id="94" creationId="{68D457EF-7252-48E1-B42B-2D7DB2EDDA1F}"/>
          </ac:picMkLst>
        </pc:picChg>
        <pc:picChg chg="add del mod">
          <ac:chgData name="Müller, Kurt (SI BP S TSS TR)" userId="e7e82c7e-80c6-42a5-ab71-24588885b7fe" providerId="ADAL" clId="{9FEA2841-5B76-4EDB-8984-1B2D4375FBAF}" dt="2021-07-23T13:55:53.324" v="1831" actId="478"/>
          <ac:picMkLst>
            <pc:docMk/>
            <pc:sldMk cId="825092287" sldId="2435"/>
            <ac:picMk id="101" creationId="{DD5C8D74-1175-4A05-8FE9-CD51CDB74D23}"/>
          </ac:picMkLst>
        </pc:picChg>
        <pc:picChg chg="add mod">
          <ac:chgData name="Müller, Kurt (SI BP S TSS TR)" userId="e7e82c7e-80c6-42a5-ab71-24588885b7fe" providerId="ADAL" clId="{9FEA2841-5B76-4EDB-8984-1B2D4375FBAF}" dt="2021-07-23T13:32:53.701" v="1622" actId="1076"/>
          <ac:picMkLst>
            <pc:docMk/>
            <pc:sldMk cId="825092287" sldId="2435"/>
            <ac:picMk id="102" creationId="{915F1B6D-EAA5-4C7A-93ED-85001264928A}"/>
          </ac:picMkLst>
        </pc:picChg>
        <pc:picChg chg="mod">
          <ac:chgData name="Müller, Kurt (SI BP S TSS TR)" userId="e7e82c7e-80c6-42a5-ab71-24588885b7fe" providerId="ADAL" clId="{9FEA2841-5B76-4EDB-8984-1B2D4375FBAF}" dt="2021-07-23T13:47:09.844" v="1811"/>
          <ac:picMkLst>
            <pc:docMk/>
            <pc:sldMk cId="825092287" sldId="2435"/>
            <ac:picMk id="115" creationId="{7C0EB2BC-C743-451C-A865-3A3E41582253}"/>
          </ac:picMkLst>
        </pc:picChg>
        <pc:cxnChg chg="mod">
          <ac:chgData name="Müller, Kurt (SI BP S TSS TR)" userId="e7e82c7e-80c6-42a5-ab71-24588885b7fe" providerId="ADAL" clId="{9FEA2841-5B76-4EDB-8984-1B2D4375FBAF}" dt="2021-07-23T13:55:57.768" v="1832" actId="1076"/>
          <ac:cxnSpMkLst>
            <pc:docMk/>
            <pc:sldMk cId="825092287" sldId="2435"/>
            <ac:cxnSpMk id="24" creationId="{9CD228B5-1780-4E78-B298-779EAF85AA96}"/>
          </ac:cxnSpMkLst>
        </pc:cxnChg>
        <pc:cxnChg chg="mod">
          <ac:chgData name="Müller, Kurt (SI BP S TSS TR)" userId="e7e82c7e-80c6-42a5-ab71-24588885b7fe" providerId="ADAL" clId="{9FEA2841-5B76-4EDB-8984-1B2D4375FBAF}" dt="2021-07-23T13:55:57.768" v="1832" actId="1076"/>
          <ac:cxnSpMkLst>
            <pc:docMk/>
            <pc:sldMk cId="825092287" sldId="2435"/>
            <ac:cxnSpMk id="25" creationId="{BB567DEB-D07A-4E4B-A6F0-26072E11FBBD}"/>
          </ac:cxnSpMkLst>
        </pc:cxnChg>
        <pc:cxnChg chg="mod">
          <ac:chgData name="Müller, Kurt (SI BP S TSS TR)" userId="e7e82c7e-80c6-42a5-ab71-24588885b7fe" providerId="ADAL" clId="{9FEA2841-5B76-4EDB-8984-1B2D4375FBAF}" dt="2021-07-23T13:55:57.768" v="1832" actId="1076"/>
          <ac:cxnSpMkLst>
            <pc:docMk/>
            <pc:sldMk cId="825092287" sldId="2435"/>
            <ac:cxnSpMk id="32" creationId="{674D85D5-427C-4CC6-9027-2C784B38BB37}"/>
          </ac:cxnSpMkLst>
        </pc:cxnChg>
        <pc:cxnChg chg="mod">
          <ac:chgData name="Müller, Kurt (SI BP S TSS TR)" userId="e7e82c7e-80c6-42a5-ab71-24588885b7fe" providerId="ADAL" clId="{9FEA2841-5B76-4EDB-8984-1B2D4375FBAF}" dt="2021-07-23T13:55:57.768" v="1832" actId="1076"/>
          <ac:cxnSpMkLst>
            <pc:docMk/>
            <pc:sldMk cId="825092287" sldId="2435"/>
            <ac:cxnSpMk id="33" creationId="{B43DF3BE-5082-4317-8D87-A2C61708298F}"/>
          </ac:cxnSpMkLst>
        </pc:cxnChg>
      </pc:sldChg>
      <pc:sldChg chg="addSp delSp modSp mod">
        <pc:chgData name="Müller, Kurt (SI BP S TSS TR)" userId="e7e82c7e-80c6-42a5-ab71-24588885b7fe" providerId="ADAL" clId="{9FEA2841-5B76-4EDB-8984-1B2D4375FBAF}" dt="2021-07-21T09:08:05.057" v="916" actId="478"/>
        <pc:sldMkLst>
          <pc:docMk/>
          <pc:sldMk cId="2020720954" sldId="2437"/>
        </pc:sldMkLst>
        <pc:spChg chg="add mod">
          <ac:chgData name="Müller, Kurt (SI BP S TSS TR)" userId="e7e82c7e-80c6-42a5-ab71-24588885b7fe" providerId="ADAL" clId="{9FEA2841-5B76-4EDB-8984-1B2D4375FBAF}" dt="2021-07-21T09:08:00.519" v="915" actId="20577"/>
          <ac:spMkLst>
            <pc:docMk/>
            <pc:sldMk cId="2020720954" sldId="2437"/>
            <ac:spMk id="16" creationId="{E99D9279-6E3B-4CCF-9810-F267BC6D8C7B}"/>
          </ac:spMkLst>
        </pc:spChg>
        <pc:spChg chg="del">
          <ac:chgData name="Müller, Kurt (SI BP S TSS TR)" userId="e7e82c7e-80c6-42a5-ab71-24588885b7fe" providerId="ADAL" clId="{9FEA2841-5B76-4EDB-8984-1B2D4375FBAF}" dt="2021-07-21T09:08:05.057" v="916" actId="478"/>
          <ac:spMkLst>
            <pc:docMk/>
            <pc:sldMk cId="2020720954" sldId="2437"/>
            <ac:spMk id="38" creationId="{16083AAE-CCD7-4756-ADFD-945DD00CA540}"/>
          </ac:spMkLst>
        </pc:spChg>
      </pc:sldChg>
      <pc:sldChg chg="ord">
        <pc:chgData name="Müller, Kurt (SI BP S TSS TR)" userId="e7e82c7e-80c6-42a5-ab71-24588885b7fe" providerId="ADAL" clId="{9FEA2841-5B76-4EDB-8984-1B2D4375FBAF}" dt="2021-07-21T09:11:07.977" v="920"/>
        <pc:sldMkLst>
          <pc:docMk/>
          <pc:sldMk cId="3980052550" sldId="2463"/>
        </pc:sldMkLst>
      </pc:sldChg>
      <pc:sldChg chg="del ord">
        <pc:chgData name="Müller, Kurt (SI BP S TSS TR)" userId="e7e82c7e-80c6-42a5-ab71-24588885b7fe" providerId="ADAL" clId="{9FEA2841-5B76-4EDB-8984-1B2D4375FBAF}" dt="2021-07-23T13:45:58.454" v="1799" actId="47"/>
        <pc:sldMkLst>
          <pc:docMk/>
          <pc:sldMk cId="1295286918" sldId="2572"/>
        </pc:sldMkLst>
      </pc:sldChg>
      <pc:sldChg chg="add">
        <pc:chgData name="Müller, Kurt (SI BP S TSS TR)" userId="e7e82c7e-80c6-42a5-ab71-24588885b7fe" providerId="ADAL" clId="{9FEA2841-5B76-4EDB-8984-1B2D4375FBAF}" dt="2021-07-21T09:08:24.767" v="918"/>
        <pc:sldMkLst>
          <pc:docMk/>
          <pc:sldMk cId="710196458" sldId="2573"/>
        </pc:sldMkLst>
      </pc:sldChg>
      <pc:sldChg chg="add del">
        <pc:chgData name="Müller, Kurt (SI BP S TSS TR)" userId="e7e82c7e-80c6-42a5-ab71-24588885b7fe" providerId="ADAL" clId="{9FEA2841-5B76-4EDB-8984-1B2D4375FBAF}" dt="2021-07-21T09:08:21.302" v="917" actId="2696"/>
        <pc:sldMkLst>
          <pc:docMk/>
          <pc:sldMk cId="2117554263" sldId="2573"/>
        </pc:sldMkLst>
      </pc:sldChg>
      <pc:sldChg chg="addSp delSp modSp add del mod">
        <pc:chgData name="Müller, Kurt (SI BP S TSS TR)" userId="e7e82c7e-80c6-42a5-ab71-24588885b7fe" providerId="ADAL" clId="{9FEA2841-5B76-4EDB-8984-1B2D4375FBAF}" dt="2021-06-22T08:58:37.971" v="720" actId="47"/>
        <pc:sldMkLst>
          <pc:docMk/>
          <pc:sldMk cId="3685697049" sldId="2574"/>
        </pc:sldMkLst>
        <pc:spChg chg="del">
          <ac:chgData name="Müller, Kurt (SI BP S TSS TR)" userId="e7e82c7e-80c6-42a5-ab71-24588885b7fe" providerId="ADAL" clId="{9FEA2841-5B76-4EDB-8984-1B2D4375FBAF}" dt="2021-06-16T13:41:59.471" v="299" actId="478"/>
          <ac:spMkLst>
            <pc:docMk/>
            <pc:sldMk cId="3685697049" sldId="2574"/>
            <ac:spMk id="3" creationId="{AFAE7150-A105-4283-B6C3-5A51A3BD5720}"/>
          </ac:spMkLst>
        </pc:spChg>
        <pc:spChg chg="mod">
          <ac:chgData name="Müller, Kurt (SI BP S TSS TR)" userId="e7e82c7e-80c6-42a5-ab71-24588885b7fe" providerId="ADAL" clId="{9FEA2841-5B76-4EDB-8984-1B2D4375FBAF}" dt="2021-06-17T16:01:20.396" v="322" actId="1076"/>
          <ac:spMkLst>
            <pc:docMk/>
            <pc:sldMk cId="3685697049" sldId="2574"/>
            <ac:spMk id="10" creationId="{442CA2B5-5262-4584-A8D3-33AE45A80ED1}"/>
          </ac:spMkLst>
        </pc:spChg>
        <pc:spChg chg="add mod">
          <ac:chgData name="Müller, Kurt (SI BP S TSS TR)" userId="e7e82c7e-80c6-42a5-ab71-24588885b7fe" providerId="ADAL" clId="{9FEA2841-5B76-4EDB-8984-1B2D4375FBAF}" dt="2021-06-17T16:01:25.227" v="323" actId="1076"/>
          <ac:spMkLst>
            <pc:docMk/>
            <pc:sldMk cId="3685697049" sldId="2574"/>
            <ac:spMk id="16" creationId="{8B747166-E0AB-4F6F-9896-E8FB9713F18D}"/>
          </ac:spMkLst>
        </pc:spChg>
        <pc:grpChg chg="del">
          <ac:chgData name="Müller, Kurt (SI BP S TSS TR)" userId="e7e82c7e-80c6-42a5-ab71-24588885b7fe" providerId="ADAL" clId="{9FEA2841-5B76-4EDB-8984-1B2D4375FBAF}" dt="2021-06-16T13:41:57.247" v="298" actId="478"/>
          <ac:grpSpMkLst>
            <pc:docMk/>
            <pc:sldMk cId="3685697049" sldId="2574"/>
            <ac:grpSpMk id="4" creationId="{E351C22B-8A04-476B-A645-B6AA3B1562A2}"/>
          </ac:grpSpMkLst>
        </pc:grpChg>
        <pc:grpChg chg="del">
          <ac:chgData name="Müller, Kurt (SI BP S TSS TR)" userId="e7e82c7e-80c6-42a5-ab71-24588885b7fe" providerId="ADAL" clId="{9FEA2841-5B76-4EDB-8984-1B2D4375FBAF}" dt="2021-06-16T13:42:09.257" v="302" actId="478"/>
          <ac:grpSpMkLst>
            <pc:docMk/>
            <pc:sldMk cId="3685697049" sldId="2574"/>
            <ac:grpSpMk id="8" creationId="{32BB6083-29B0-4D20-BE91-427A1D91E6D6}"/>
          </ac:grpSpMkLst>
        </pc:grpChg>
        <pc:grpChg chg="del">
          <ac:chgData name="Müller, Kurt (SI BP S TSS TR)" userId="e7e82c7e-80c6-42a5-ab71-24588885b7fe" providerId="ADAL" clId="{9FEA2841-5B76-4EDB-8984-1B2D4375FBAF}" dt="2021-06-16T13:42:10.280" v="303" actId="478"/>
          <ac:grpSpMkLst>
            <pc:docMk/>
            <pc:sldMk cId="3685697049" sldId="2574"/>
            <ac:grpSpMk id="21" creationId="{F87C0937-C7B6-437C-B4E4-6733F094EE98}"/>
          </ac:grpSpMkLst>
        </pc:grpChg>
        <pc:picChg chg="add del mod">
          <ac:chgData name="Müller, Kurt (SI BP S TSS TR)" userId="e7e82c7e-80c6-42a5-ab71-24588885b7fe" providerId="ADAL" clId="{9FEA2841-5B76-4EDB-8984-1B2D4375FBAF}" dt="2021-06-22T08:50:24.266" v="605" actId="478"/>
          <ac:picMkLst>
            <pc:docMk/>
            <pc:sldMk cId="3685697049" sldId="2574"/>
            <ac:picMk id="6" creationId="{916FE53E-2B5C-4D35-BC61-1C09B314FB64}"/>
          </ac:picMkLst>
        </pc:picChg>
        <pc:picChg chg="add mod">
          <ac:chgData name="Müller, Kurt (SI BP S TSS TR)" userId="e7e82c7e-80c6-42a5-ab71-24588885b7fe" providerId="ADAL" clId="{9FEA2841-5B76-4EDB-8984-1B2D4375FBAF}" dt="2021-06-21T13:23:48.912" v="329" actId="1076"/>
          <ac:picMkLst>
            <pc:docMk/>
            <pc:sldMk cId="3685697049" sldId="2574"/>
            <ac:picMk id="12" creationId="{641CF423-A909-4037-861B-5470B5AE2FB1}"/>
          </ac:picMkLst>
        </pc:picChg>
        <pc:picChg chg="mod">
          <ac:chgData name="Müller, Kurt (SI BP S TSS TR)" userId="e7e82c7e-80c6-42a5-ab71-24588885b7fe" providerId="ADAL" clId="{9FEA2841-5B76-4EDB-8984-1B2D4375FBAF}" dt="2021-06-17T16:01:18.596" v="321" actId="1076"/>
          <ac:picMkLst>
            <pc:docMk/>
            <pc:sldMk cId="3685697049" sldId="2574"/>
            <ac:picMk id="44" creationId="{C1F50641-BB71-452D-9467-7F7CB44455BE}"/>
          </ac:picMkLst>
        </pc:picChg>
      </pc:sldChg>
      <pc:sldChg chg="modSp add mod">
        <pc:chgData name="Müller, Kurt (SI BP S TSS TR)" userId="e7e82c7e-80c6-42a5-ab71-24588885b7fe" providerId="ADAL" clId="{9FEA2841-5B76-4EDB-8984-1B2D4375FBAF}" dt="2021-06-21T14:20:09.737" v="375" actId="20577"/>
        <pc:sldMkLst>
          <pc:docMk/>
          <pc:sldMk cId="740471923" sldId="2575"/>
        </pc:sldMkLst>
        <pc:spChg chg="mod">
          <ac:chgData name="Müller, Kurt (SI BP S TSS TR)" userId="e7e82c7e-80c6-42a5-ab71-24588885b7fe" providerId="ADAL" clId="{9FEA2841-5B76-4EDB-8984-1B2D4375FBAF}" dt="2021-06-21T14:20:09.737" v="375" actId="20577"/>
          <ac:spMkLst>
            <pc:docMk/>
            <pc:sldMk cId="740471923" sldId="2575"/>
            <ac:spMk id="4" creationId="{00000000-0000-0000-0000-000000000000}"/>
          </ac:spMkLst>
        </pc:spChg>
      </pc:sldChg>
      <pc:sldChg chg="addSp delSp modSp add mod modAnim addCm delCm">
        <pc:chgData name="Müller, Kurt (SI BP S TSS TR)" userId="e7e82c7e-80c6-42a5-ab71-24588885b7fe" providerId="ADAL" clId="{9FEA2841-5B76-4EDB-8984-1B2D4375FBAF}" dt="2021-07-21T09:07:02.757" v="885" actId="1076"/>
        <pc:sldMkLst>
          <pc:docMk/>
          <pc:sldMk cId="218520005" sldId="2576"/>
        </pc:sldMkLst>
        <pc:spChg chg="add del mod">
          <ac:chgData name="Müller, Kurt (SI BP S TSS TR)" userId="e7e82c7e-80c6-42a5-ab71-24588885b7fe" providerId="ADAL" clId="{9FEA2841-5B76-4EDB-8984-1B2D4375FBAF}" dt="2021-06-22T08:50:09.742" v="600" actId="1076"/>
          <ac:spMkLst>
            <pc:docMk/>
            <pc:sldMk cId="218520005" sldId="2576"/>
            <ac:spMk id="3" creationId="{6F6B2F90-411C-4CE0-87D6-8540C7987061}"/>
          </ac:spMkLst>
        </pc:spChg>
        <pc:spChg chg="add mod">
          <ac:chgData name="Müller, Kurt (SI BP S TSS TR)" userId="e7e82c7e-80c6-42a5-ab71-24588885b7fe" providerId="ADAL" clId="{9FEA2841-5B76-4EDB-8984-1B2D4375FBAF}" dt="2021-07-21T09:07:02.757" v="885" actId="1076"/>
          <ac:spMkLst>
            <pc:docMk/>
            <pc:sldMk cId="218520005" sldId="2576"/>
            <ac:spMk id="4" creationId="{27F415B5-B89D-43C5-82FE-486FDB760CC1}"/>
          </ac:spMkLst>
        </pc:spChg>
        <pc:spChg chg="del">
          <ac:chgData name="Müller, Kurt (SI BP S TSS TR)" userId="e7e82c7e-80c6-42a5-ab71-24588885b7fe" providerId="ADAL" clId="{9FEA2841-5B76-4EDB-8984-1B2D4375FBAF}" dt="2021-06-22T06:37:51.703" v="377" actId="478"/>
          <ac:spMkLst>
            <pc:docMk/>
            <pc:sldMk cId="218520005" sldId="2576"/>
            <ac:spMk id="10" creationId="{442CA2B5-5262-4584-A8D3-33AE45A80ED1}"/>
          </ac:spMkLst>
        </pc:spChg>
        <pc:spChg chg="del">
          <ac:chgData name="Müller, Kurt (SI BP S TSS TR)" userId="e7e82c7e-80c6-42a5-ab71-24588885b7fe" providerId="ADAL" clId="{9FEA2841-5B76-4EDB-8984-1B2D4375FBAF}" dt="2021-06-22T06:37:51.703" v="377" actId="478"/>
          <ac:spMkLst>
            <pc:docMk/>
            <pc:sldMk cId="218520005" sldId="2576"/>
            <ac:spMk id="16" creationId="{8B747166-E0AB-4F6F-9896-E8FB9713F18D}"/>
          </ac:spMkLst>
        </pc:spChg>
        <pc:spChg chg="mod">
          <ac:chgData name="Müller, Kurt (SI BP S TSS TR)" userId="e7e82c7e-80c6-42a5-ab71-24588885b7fe" providerId="ADAL" clId="{9FEA2841-5B76-4EDB-8984-1B2D4375FBAF}" dt="2021-06-22T06:52:54.126" v="482" actId="1076"/>
          <ac:spMkLst>
            <pc:docMk/>
            <pc:sldMk cId="218520005" sldId="2576"/>
            <ac:spMk id="19" creationId="{F94DAD78-0498-4DDB-9E94-95CAC9AB776C}"/>
          </ac:spMkLst>
        </pc:spChg>
        <pc:spChg chg="mod">
          <ac:chgData name="Müller, Kurt (SI BP S TSS TR)" userId="e7e82c7e-80c6-42a5-ab71-24588885b7fe" providerId="ADAL" clId="{9FEA2841-5B76-4EDB-8984-1B2D4375FBAF}" dt="2021-06-22T06:52:54.126" v="482" actId="1076"/>
          <ac:spMkLst>
            <pc:docMk/>
            <pc:sldMk cId="218520005" sldId="2576"/>
            <ac:spMk id="20" creationId="{19CECCBE-D73F-45FB-8F8F-2390C7BA391C}"/>
          </ac:spMkLst>
        </pc:spChg>
        <pc:spChg chg="add del mod">
          <ac:chgData name="Müller, Kurt (SI BP S TSS TR)" userId="e7e82c7e-80c6-42a5-ab71-24588885b7fe" providerId="ADAL" clId="{9FEA2841-5B76-4EDB-8984-1B2D4375FBAF}" dt="2021-06-22T08:50:16.640" v="604" actId="478"/>
          <ac:spMkLst>
            <pc:docMk/>
            <pc:sldMk cId="218520005" sldId="2576"/>
            <ac:spMk id="21" creationId="{0C237C22-7BBD-4ECD-9D4C-9353E8D74276}"/>
          </ac:spMkLst>
        </pc:spChg>
        <pc:spChg chg="add del mod">
          <ac:chgData name="Müller, Kurt (SI BP S TSS TR)" userId="e7e82c7e-80c6-42a5-ab71-24588885b7fe" providerId="ADAL" clId="{9FEA2841-5B76-4EDB-8984-1B2D4375FBAF}" dt="2021-06-22T08:50:16.640" v="604" actId="478"/>
          <ac:spMkLst>
            <pc:docMk/>
            <pc:sldMk cId="218520005" sldId="2576"/>
            <ac:spMk id="23" creationId="{7FF17C71-5CC5-4E90-9709-FA456A9638ED}"/>
          </ac:spMkLst>
        </pc:spChg>
        <pc:spChg chg="add del mod">
          <ac:chgData name="Müller, Kurt (SI BP S TSS TR)" userId="e7e82c7e-80c6-42a5-ab71-24588885b7fe" providerId="ADAL" clId="{9FEA2841-5B76-4EDB-8984-1B2D4375FBAF}" dt="2021-06-22T08:50:16.640" v="604" actId="478"/>
          <ac:spMkLst>
            <pc:docMk/>
            <pc:sldMk cId="218520005" sldId="2576"/>
            <ac:spMk id="24" creationId="{73359EFA-171D-4657-9536-1CBB50DFED9D}"/>
          </ac:spMkLst>
        </pc:spChg>
        <pc:spChg chg="mod">
          <ac:chgData name="Müller, Kurt (SI BP S TSS TR)" userId="e7e82c7e-80c6-42a5-ab71-24588885b7fe" providerId="ADAL" clId="{9FEA2841-5B76-4EDB-8984-1B2D4375FBAF}" dt="2021-06-22T06:40:58.104" v="380"/>
          <ac:spMkLst>
            <pc:docMk/>
            <pc:sldMk cId="218520005" sldId="2576"/>
            <ac:spMk id="32" creationId="{CC713EC8-4AA6-4221-9C10-275D592D31B1}"/>
          </ac:spMkLst>
        </pc:spChg>
        <pc:spChg chg="mod">
          <ac:chgData name="Müller, Kurt (SI BP S TSS TR)" userId="e7e82c7e-80c6-42a5-ab71-24588885b7fe" providerId="ADAL" clId="{9FEA2841-5B76-4EDB-8984-1B2D4375FBAF}" dt="2021-06-22T06:40:58.104" v="380"/>
          <ac:spMkLst>
            <pc:docMk/>
            <pc:sldMk cId="218520005" sldId="2576"/>
            <ac:spMk id="33" creationId="{91147277-13AD-495E-9E8A-0C160ADAA5F0}"/>
          </ac:spMkLst>
        </pc:spChg>
        <pc:spChg chg="mod">
          <ac:chgData name="Müller, Kurt (SI BP S TSS TR)" userId="e7e82c7e-80c6-42a5-ab71-24588885b7fe" providerId="ADAL" clId="{9FEA2841-5B76-4EDB-8984-1B2D4375FBAF}" dt="2021-06-22T06:40:58.104" v="380"/>
          <ac:spMkLst>
            <pc:docMk/>
            <pc:sldMk cId="218520005" sldId="2576"/>
            <ac:spMk id="41" creationId="{FBF5C7BF-4F00-432D-94BD-BF8D75B1E820}"/>
          </ac:spMkLst>
        </pc:spChg>
        <pc:spChg chg="mod">
          <ac:chgData name="Müller, Kurt (SI BP S TSS TR)" userId="e7e82c7e-80c6-42a5-ab71-24588885b7fe" providerId="ADAL" clId="{9FEA2841-5B76-4EDB-8984-1B2D4375FBAF}" dt="2021-06-22T06:40:58.104" v="380"/>
          <ac:spMkLst>
            <pc:docMk/>
            <pc:sldMk cId="218520005" sldId="2576"/>
            <ac:spMk id="42" creationId="{85DCFCCE-33F5-4620-B6F1-E31EFD866A76}"/>
          </ac:spMkLst>
        </pc:spChg>
        <pc:spChg chg="del">
          <ac:chgData name="Müller, Kurt (SI BP S TSS TR)" userId="e7e82c7e-80c6-42a5-ab71-24588885b7fe" providerId="ADAL" clId="{9FEA2841-5B76-4EDB-8984-1B2D4375FBAF}" dt="2021-06-22T06:37:51.703" v="377" actId="478"/>
          <ac:spMkLst>
            <pc:docMk/>
            <pc:sldMk cId="218520005" sldId="2576"/>
            <ac:spMk id="45" creationId="{25D03255-4EE9-4709-9111-21F0851C4725}"/>
          </ac:spMkLst>
        </pc:spChg>
        <pc:spChg chg="del">
          <ac:chgData name="Müller, Kurt (SI BP S TSS TR)" userId="e7e82c7e-80c6-42a5-ab71-24588885b7fe" providerId="ADAL" clId="{9FEA2841-5B76-4EDB-8984-1B2D4375FBAF}" dt="2021-06-22T06:37:51.703" v="377" actId="478"/>
          <ac:spMkLst>
            <pc:docMk/>
            <pc:sldMk cId="218520005" sldId="2576"/>
            <ac:spMk id="46" creationId="{7674E7AA-81CB-4EEA-9E3E-83023D05C41D}"/>
          </ac:spMkLst>
        </pc:spChg>
        <pc:spChg chg="mod">
          <ac:chgData name="Müller, Kurt (SI BP S TSS TR)" userId="e7e82c7e-80c6-42a5-ab71-24588885b7fe" providerId="ADAL" clId="{9FEA2841-5B76-4EDB-8984-1B2D4375FBAF}" dt="2021-06-22T06:40:58.104" v="380"/>
          <ac:spMkLst>
            <pc:docMk/>
            <pc:sldMk cId="218520005" sldId="2576"/>
            <ac:spMk id="48" creationId="{6A51F011-3975-4E23-9757-BBF55EDCB91D}"/>
          </ac:spMkLst>
        </pc:spChg>
        <pc:spChg chg="del">
          <ac:chgData name="Müller, Kurt (SI BP S TSS TR)" userId="e7e82c7e-80c6-42a5-ab71-24588885b7fe" providerId="ADAL" clId="{9FEA2841-5B76-4EDB-8984-1B2D4375FBAF}" dt="2021-06-22T09:01:22.456" v="754" actId="478"/>
          <ac:spMkLst>
            <pc:docMk/>
            <pc:sldMk cId="218520005" sldId="2576"/>
            <ac:spMk id="49" creationId="{FAF19FD7-1936-43A3-8E21-34F5A3AC1EB7}"/>
          </ac:spMkLst>
        </pc:spChg>
        <pc:spChg chg="mod">
          <ac:chgData name="Müller, Kurt (SI BP S TSS TR)" userId="e7e82c7e-80c6-42a5-ab71-24588885b7fe" providerId="ADAL" clId="{9FEA2841-5B76-4EDB-8984-1B2D4375FBAF}" dt="2021-06-22T06:40:58.104" v="380"/>
          <ac:spMkLst>
            <pc:docMk/>
            <pc:sldMk cId="218520005" sldId="2576"/>
            <ac:spMk id="54" creationId="{01E1BCD5-0397-45E4-A5A9-62AAED153BD5}"/>
          </ac:spMkLst>
        </pc:spChg>
        <pc:spChg chg="mod">
          <ac:chgData name="Müller, Kurt (SI BP S TSS TR)" userId="e7e82c7e-80c6-42a5-ab71-24588885b7fe" providerId="ADAL" clId="{9FEA2841-5B76-4EDB-8984-1B2D4375FBAF}" dt="2021-06-22T06:40:58.104" v="380"/>
          <ac:spMkLst>
            <pc:docMk/>
            <pc:sldMk cId="218520005" sldId="2576"/>
            <ac:spMk id="57" creationId="{67AAE438-CAAF-4639-981E-7DC28A70FB85}"/>
          </ac:spMkLst>
        </pc:spChg>
        <pc:spChg chg="add del mod">
          <ac:chgData name="Müller, Kurt (SI BP S TSS TR)" userId="e7e82c7e-80c6-42a5-ab71-24588885b7fe" providerId="ADAL" clId="{9FEA2841-5B76-4EDB-8984-1B2D4375FBAF}" dt="2021-06-22T08:50:16.640" v="604" actId="478"/>
          <ac:spMkLst>
            <pc:docMk/>
            <pc:sldMk cId="218520005" sldId="2576"/>
            <ac:spMk id="66" creationId="{520AB4B0-D64C-4089-B2B9-C5A3C6F5FB1B}"/>
          </ac:spMkLst>
        </pc:spChg>
        <pc:spChg chg="add del mod">
          <ac:chgData name="Müller, Kurt (SI BP S TSS TR)" userId="e7e82c7e-80c6-42a5-ab71-24588885b7fe" providerId="ADAL" clId="{9FEA2841-5B76-4EDB-8984-1B2D4375FBAF}" dt="2021-06-22T08:50:16.640" v="604" actId="478"/>
          <ac:spMkLst>
            <pc:docMk/>
            <pc:sldMk cId="218520005" sldId="2576"/>
            <ac:spMk id="67" creationId="{0E95D705-3A18-4C44-AAD5-FC9A2FC9E269}"/>
          </ac:spMkLst>
        </pc:spChg>
        <pc:spChg chg="add del mod">
          <ac:chgData name="Müller, Kurt (SI BP S TSS TR)" userId="e7e82c7e-80c6-42a5-ab71-24588885b7fe" providerId="ADAL" clId="{9FEA2841-5B76-4EDB-8984-1B2D4375FBAF}" dt="2021-06-22T08:50:16.640" v="604" actId="478"/>
          <ac:spMkLst>
            <pc:docMk/>
            <pc:sldMk cId="218520005" sldId="2576"/>
            <ac:spMk id="69" creationId="{615C2C0D-29DF-4E35-A213-72BB4990E2EF}"/>
          </ac:spMkLst>
        </pc:spChg>
        <pc:spChg chg="add del mod">
          <ac:chgData name="Müller, Kurt (SI BP S TSS TR)" userId="e7e82c7e-80c6-42a5-ab71-24588885b7fe" providerId="ADAL" clId="{9FEA2841-5B76-4EDB-8984-1B2D4375FBAF}" dt="2021-06-22T08:50:16.640" v="604" actId="478"/>
          <ac:spMkLst>
            <pc:docMk/>
            <pc:sldMk cId="218520005" sldId="2576"/>
            <ac:spMk id="70" creationId="{E70DC800-0D69-4186-9F6F-AE3E163B9C4F}"/>
          </ac:spMkLst>
        </pc:spChg>
        <pc:spChg chg="mod topLvl">
          <ac:chgData name="Müller, Kurt (SI BP S TSS TR)" userId="e7e82c7e-80c6-42a5-ab71-24588885b7fe" providerId="ADAL" clId="{9FEA2841-5B76-4EDB-8984-1B2D4375FBAF}" dt="2021-06-22T07:08:39.589" v="549" actId="164"/>
          <ac:spMkLst>
            <pc:docMk/>
            <pc:sldMk cId="218520005" sldId="2576"/>
            <ac:spMk id="74" creationId="{5A712AD7-9A2D-4CCC-81CB-F65E9C8BD5B9}"/>
          </ac:spMkLst>
        </pc:spChg>
        <pc:spChg chg="mod topLvl">
          <ac:chgData name="Müller, Kurt (SI BP S TSS TR)" userId="e7e82c7e-80c6-42a5-ab71-24588885b7fe" providerId="ADAL" clId="{9FEA2841-5B76-4EDB-8984-1B2D4375FBAF}" dt="2021-06-22T07:08:39.589" v="549" actId="164"/>
          <ac:spMkLst>
            <pc:docMk/>
            <pc:sldMk cId="218520005" sldId="2576"/>
            <ac:spMk id="75" creationId="{818E069F-EC38-468A-B209-84D91E0E7A77}"/>
          </ac:spMkLst>
        </pc:spChg>
        <pc:spChg chg="mod">
          <ac:chgData name="Müller, Kurt (SI BP S TSS TR)" userId="e7e82c7e-80c6-42a5-ab71-24588885b7fe" providerId="ADAL" clId="{9FEA2841-5B76-4EDB-8984-1B2D4375FBAF}" dt="2021-06-22T07:05:13.344" v="532" actId="165"/>
          <ac:spMkLst>
            <pc:docMk/>
            <pc:sldMk cId="218520005" sldId="2576"/>
            <ac:spMk id="83" creationId="{1ABE4C6F-4419-4C25-AFB9-22242192D3DE}"/>
          </ac:spMkLst>
        </pc:spChg>
        <pc:spChg chg="del mod topLvl">
          <ac:chgData name="Müller, Kurt (SI BP S TSS TR)" userId="e7e82c7e-80c6-42a5-ab71-24588885b7fe" providerId="ADAL" clId="{9FEA2841-5B76-4EDB-8984-1B2D4375FBAF}" dt="2021-06-22T08:50:16.640" v="604" actId="478"/>
          <ac:spMkLst>
            <pc:docMk/>
            <pc:sldMk cId="218520005" sldId="2576"/>
            <ac:spMk id="84" creationId="{1CDBCFF3-347E-4430-85F5-17007ACA91CF}"/>
          </ac:spMkLst>
        </pc:spChg>
        <pc:spChg chg="del mod topLvl">
          <ac:chgData name="Müller, Kurt (SI BP S TSS TR)" userId="e7e82c7e-80c6-42a5-ab71-24588885b7fe" providerId="ADAL" clId="{9FEA2841-5B76-4EDB-8984-1B2D4375FBAF}" dt="2021-06-22T08:50:16.640" v="604" actId="478"/>
          <ac:spMkLst>
            <pc:docMk/>
            <pc:sldMk cId="218520005" sldId="2576"/>
            <ac:spMk id="86" creationId="{982AC2A1-91D9-4479-B38A-F026E52BBDF9}"/>
          </ac:spMkLst>
        </pc:spChg>
        <pc:spChg chg="add mod">
          <ac:chgData name="Müller, Kurt (SI BP S TSS TR)" userId="e7e82c7e-80c6-42a5-ab71-24588885b7fe" providerId="ADAL" clId="{9FEA2841-5B76-4EDB-8984-1B2D4375FBAF}" dt="2021-06-22T07:08:39.589" v="549" actId="164"/>
          <ac:spMkLst>
            <pc:docMk/>
            <pc:sldMk cId="218520005" sldId="2576"/>
            <ac:spMk id="88" creationId="{B1663EAE-4A95-4697-BB49-451F69B9ED59}"/>
          </ac:spMkLst>
        </pc:spChg>
        <pc:spChg chg="add del mod">
          <ac:chgData name="Müller, Kurt (SI BP S TSS TR)" userId="e7e82c7e-80c6-42a5-ab71-24588885b7fe" providerId="ADAL" clId="{9FEA2841-5B76-4EDB-8984-1B2D4375FBAF}" dt="2021-06-22T08:50:16.640" v="604" actId="478"/>
          <ac:spMkLst>
            <pc:docMk/>
            <pc:sldMk cId="218520005" sldId="2576"/>
            <ac:spMk id="89" creationId="{0B91D252-E5B9-45C4-93B5-3FAF35E883A8}"/>
          </ac:spMkLst>
        </pc:spChg>
        <pc:spChg chg="mod">
          <ac:chgData name="Müller, Kurt (SI BP S TSS TR)" userId="e7e82c7e-80c6-42a5-ab71-24588885b7fe" providerId="ADAL" clId="{9FEA2841-5B76-4EDB-8984-1B2D4375FBAF}" dt="2021-06-22T06:53:33.493" v="486" actId="165"/>
          <ac:spMkLst>
            <pc:docMk/>
            <pc:sldMk cId="218520005" sldId="2576"/>
            <ac:spMk id="94" creationId="{F559B03D-39B3-461D-B712-A9AA2ECA4BCD}"/>
          </ac:spMkLst>
        </pc:spChg>
        <pc:spChg chg="mod">
          <ac:chgData name="Müller, Kurt (SI BP S TSS TR)" userId="e7e82c7e-80c6-42a5-ab71-24588885b7fe" providerId="ADAL" clId="{9FEA2841-5B76-4EDB-8984-1B2D4375FBAF}" dt="2021-06-22T06:52:54.126" v="482" actId="1076"/>
          <ac:spMkLst>
            <pc:docMk/>
            <pc:sldMk cId="218520005" sldId="2576"/>
            <ac:spMk id="97" creationId="{AF151BBA-19F0-45A3-B4FF-5A616370B096}"/>
          </ac:spMkLst>
        </pc:spChg>
        <pc:spChg chg="mod">
          <ac:chgData name="Müller, Kurt (SI BP S TSS TR)" userId="e7e82c7e-80c6-42a5-ab71-24588885b7fe" providerId="ADAL" clId="{9FEA2841-5B76-4EDB-8984-1B2D4375FBAF}" dt="2021-06-22T06:53:33.493" v="486" actId="165"/>
          <ac:spMkLst>
            <pc:docMk/>
            <pc:sldMk cId="218520005" sldId="2576"/>
            <ac:spMk id="102" creationId="{7769C5C0-F3E7-4202-A8AB-0049551A4052}"/>
          </ac:spMkLst>
        </pc:spChg>
        <pc:spChg chg="add mod">
          <ac:chgData name="Müller, Kurt (SI BP S TSS TR)" userId="e7e82c7e-80c6-42a5-ab71-24588885b7fe" providerId="ADAL" clId="{9FEA2841-5B76-4EDB-8984-1B2D4375FBAF}" dt="2021-06-23T10:45:44.511" v="765" actId="1076"/>
          <ac:spMkLst>
            <pc:docMk/>
            <pc:sldMk cId="218520005" sldId="2576"/>
            <ac:spMk id="111" creationId="{0E4EE65A-2F9D-447F-A308-C671BDABB7CE}"/>
          </ac:spMkLst>
        </pc:spChg>
        <pc:spChg chg="add mod">
          <ac:chgData name="Müller, Kurt (SI BP S TSS TR)" userId="e7e82c7e-80c6-42a5-ab71-24588885b7fe" providerId="ADAL" clId="{9FEA2841-5B76-4EDB-8984-1B2D4375FBAF}" dt="2021-06-22T06:52:46.778" v="480" actId="1076"/>
          <ac:spMkLst>
            <pc:docMk/>
            <pc:sldMk cId="218520005" sldId="2576"/>
            <ac:spMk id="123" creationId="{D5576CBF-5970-4A1C-92A5-81B32EB5407E}"/>
          </ac:spMkLst>
        </pc:spChg>
        <pc:spChg chg="mod">
          <ac:chgData name="Müller, Kurt (SI BP S TSS TR)" userId="e7e82c7e-80c6-42a5-ab71-24588885b7fe" providerId="ADAL" clId="{9FEA2841-5B76-4EDB-8984-1B2D4375FBAF}" dt="2021-06-22T08:50:09.742" v="600" actId="1076"/>
          <ac:spMkLst>
            <pc:docMk/>
            <pc:sldMk cId="218520005" sldId="2576"/>
            <ac:spMk id="127" creationId="{97CF54C3-0D13-4284-882E-C347CD90CFE7}"/>
          </ac:spMkLst>
        </pc:spChg>
        <pc:spChg chg="add mod">
          <ac:chgData name="Müller, Kurt (SI BP S TSS TR)" userId="e7e82c7e-80c6-42a5-ab71-24588885b7fe" providerId="ADAL" clId="{9FEA2841-5B76-4EDB-8984-1B2D4375FBAF}" dt="2021-06-22T06:52:46.778" v="480" actId="1076"/>
          <ac:spMkLst>
            <pc:docMk/>
            <pc:sldMk cId="218520005" sldId="2576"/>
            <ac:spMk id="130" creationId="{A74EA87B-817C-4558-B007-45C35159C45D}"/>
          </ac:spMkLst>
        </pc:spChg>
        <pc:spChg chg="mod">
          <ac:chgData name="Müller, Kurt (SI BP S TSS TR)" userId="e7e82c7e-80c6-42a5-ab71-24588885b7fe" providerId="ADAL" clId="{9FEA2841-5B76-4EDB-8984-1B2D4375FBAF}" dt="2021-06-22T06:52:46.778" v="480" actId="1076"/>
          <ac:spMkLst>
            <pc:docMk/>
            <pc:sldMk cId="218520005" sldId="2576"/>
            <ac:spMk id="134" creationId="{3F2C583D-B396-40EE-BEF1-CDF2228BBED1}"/>
          </ac:spMkLst>
        </pc:spChg>
        <pc:spChg chg="mod">
          <ac:chgData name="Müller, Kurt (SI BP S TSS TR)" userId="e7e82c7e-80c6-42a5-ab71-24588885b7fe" providerId="ADAL" clId="{9FEA2841-5B76-4EDB-8984-1B2D4375FBAF}" dt="2021-06-22T06:52:46.778" v="480" actId="1076"/>
          <ac:spMkLst>
            <pc:docMk/>
            <pc:sldMk cId="218520005" sldId="2576"/>
            <ac:spMk id="135" creationId="{0FEAFA66-443A-4BD4-837E-E8DE4CA3BE7B}"/>
          </ac:spMkLst>
        </pc:spChg>
        <pc:spChg chg="mod">
          <ac:chgData name="Müller, Kurt (SI BP S TSS TR)" userId="e7e82c7e-80c6-42a5-ab71-24588885b7fe" providerId="ADAL" clId="{9FEA2841-5B76-4EDB-8984-1B2D4375FBAF}" dt="2021-06-22T06:55:10.205" v="518" actId="1076"/>
          <ac:spMkLst>
            <pc:docMk/>
            <pc:sldMk cId="218520005" sldId="2576"/>
            <ac:spMk id="140" creationId="{AFC1B7E0-E286-42AA-A5FD-A0E9C6AFBB9A}"/>
          </ac:spMkLst>
        </pc:spChg>
        <pc:spChg chg="add mod">
          <ac:chgData name="Müller, Kurt (SI BP S TSS TR)" userId="e7e82c7e-80c6-42a5-ab71-24588885b7fe" providerId="ADAL" clId="{9FEA2841-5B76-4EDB-8984-1B2D4375FBAF}" dt="2021-06-22T07:08:39.589" v="549" actId="164"/>
          <ac:spMkLst>
            <pc:docMk/>
            <pc:sldMk cId="218520005" sldId="2576"/>
            <ac:spMk id="151" creationId="{01D28E1E-4DAB-44D9-90DF-39CD1C6569F3}"/>
          </ac:spMkLst>
        </pc:spChg>
        <pc:spChg chg="mod">
          <ac:chgData name="Müller, Kurt (SI BP S TSS TR)" userId="e7e82c7e-80c6-42a5-ab71-24588885b7fe" providerId="ADAL" clId="{9FEA2841-5B76-4EDB-8984-1B2D4375FBAF}" dt="2021-06-22T07:09:01.666" v="553" actId="1582"/>
          <ac:spMkLst>
            <pc:docMk/>
            <pc:sldMk cId="218520005" sldId="2576"/>
            <ac:spMk id="158" creationId="{0BA6C29D-C3BB-4702-B811-9AAAE0E8F488}"/>
          </ac:spMkLst>
        </pc:spChg>
        <pc:spChg chg="mod">
          <ac:chgData name="Müller, Kurt (SI BP S TSS TR)" userId="e7e82c7e-80c6-42a5-ab71-24588885b7fe" providerId="ADAL" clId="{9FEA2841-5B76-4EDB-8984-1B2D4375FBAF}" dt="2021-06-22T08:46:55.368" v="568" actId="207"/>
          <ac:spMkLst>
            <pc:docMk/>
            <pc:sldMk cId="218520005" sldId="2576"/>
            <ac:spMk id="159" creationId="{0FC621C7-C831-4FA2-BE97-314D9B76FF6A}"/>
          </ac:spMkLst>
        </pc:spChg>
        <pc:spChg chg="mod">
          <ac:chgData name="Müller, Kurt (SI BP S TSS TR)" userId="e7e82c7e-80c6-42a5-ab71-24588885b7fe" providerId="ADAL" clId="{9FEA2841-5B76-4EDB-8984-1B2D4375FBAF}" dt="2021-06-22T07:09:01.666" v="553" actId="1582"/>
          <ac:spMkLst>
            <pc:docMk/>
            <pc:sldMk cId="218520005" sldId="2576"/>
            <ac:spMk id="160" creationId="{6AD9EDFC-C372-4F24-9623-72829DF73198}"/>
          </ac:spMkLst>
        </pc:spChg>
        <pc:spChg chg="mod">
          <ac:chgData name="Müller, Kurt (SI BP S TSS TR)" userId="e7e82c7e-80c6-42a5-ab71-24588885b7fe" providerId="ADAL" clId="{9FEA2841-5B76-4EDB-8984-1B2D4375FBAF}" dt="2021-06-22T07:09:22.724" v="556" actId="255"/>
          <ac:spMkLst>
            <pc:docMk/>
            <pc:sldMk cId="218520005" sldId="2576"/>
            <ac:spMk id="161" creationId="{F9C6EA09-B722-4847-A40A-BA665AC19822}"/>
          </ac:spMkLst>
        </pc:spChg>
        <pc:spChg chg="mod">
          <ac:chgData name="Müller, Kurt (SI BP S TSS TR)" userId="e7e82c7e-80c6-42a5-ab71-24588885b7fe" providerId="ADAL" clId="{9FEA2841-5B76-4EDB-8984-1B2D4375FBAF}" dt="2021-06-22T08:47:13.372" v="569" actId="571"/>
          <ac:spMkLst>
            <pc:docMk/>
            <pc:sldMk cId="218520005" sldId="2576"/>
            <ac:spMk id="172" creationId="{A6AD4720-B370-4785-B4B9-01D2CC00C0EE}"/>
          </ac:spMkLst>
        </pc:spChg>
        <pc:spChg chg="mod">
          <ac:chgData name="Müller, Kurt (SI BP S TSS TR)" userId="e7e82c7e-80c6-42a5-ab71-24588885b7fe" providerId="ADAL" clId="{9FEA2841-5B76-4EDB-8984-1B2D4375FBAF}" dt="2021-06-22T08:47:13.372" v="569" actId="571"/>
          <ac:spMkLst>
            <pc:docMk/>
            <pc:sldMk cId="218520005" sldId="2576"/>
            <ac:spMk id="173" creationId="{470AF321-742F-4EB8-A82E-16F20D616FFE}"/>
          </ac:spMkLst>
        </pc:spChg>
        <pc:spChg chg="mod">
          <ac:chgData name="Müller, Kurt (SI BP S TSS TR)" userId="e7e82c7e-80c6-42a5-ab71-24588885b7fe" providerId="ADAL" clId="{9FEA2841-5B76-4EDB-8984-1B2D4375FBAF}" dt="2021-06-22T08:47:13.372" v="569" actId="571"/>
          <ac:spMkLst>
            <pc:docMk/>
            <pc:sldMk cId="218520005" sldId="2576"/>
            <ac:spMk id="174" creationId="{E014E9BD-C906-4704-8239-A9CE698C4B80}"/>
          </ac:spMkLst>
        </pc:spChg>
        <pc:spChg chg="mod">
          <ac:chgData name="Müller, Kurt (SI BP S TSS TR)" userId="e7e82c7e-80c6-42a5-ab71-24588885b7fe" providerId="ADAL" clId="{9FEA2841-5B76-4EDB-8984-1B2D4375FBAF}" dt="2021-06-22T08:47:13.372" v="569" actId="571"/>
          <ac:spMkLst>
            <pc:docMk/>
            <pc:sldMk cId="218520005" sldId="2576"/>
            <ac:spMk id="175" creationId="{B8DF97D4-F548-4DFD-BEC7-48710A2A7C75}"/>
          </ac:spMkLst>
        </pc:spChg>
        <pc:spChg chg="add mod">
          <ac:chgData name="Müller, Kurt (SI BP S TSS TR)" userId="e7e82c7e-80c6-42a5-ab71-24588885b7fe" providerId="ADAL" clId="{9FEA2841-5B76-4EDB-8984-1B2D4375FBAF}" dt="2021-06-23T10:45:56.163" v="766" actId="1076"/>
          <ac:spMkLst>
            <pc:docMk/>
            <pc:sldMk cId="218520005" sldId="2576"/>
            <ac:spMk id="179" creationId="{9257C674-00E1-4E7D-8410-A171723F0F9D}"/>
          </ac:spMkLst>
        </pc:spChg>
        <pc:spChg chg="mod">
          <ac:chgData name="Müller, Kurt (SI BP S TSS TR)" userId="e7e82c7e-80c6-42a5-ab71-24588885b7fe" providerId="ADAL" clId="{9FEA2841-5B76-4EDB-8984-1B2D4375FBAF}" dt="2021-06-22T08:49:44.922" v="597" actId="688"/>
          <ac:spMkLst>
            <pc:docMk/>
            <pc:sldMk cId="218520005" sldId="2576"/>
            <ac:spMk id="182" creationId="{72828975-5CD9-469B-ADB2-56C8F55D4D45}"/>
          </ac:spMkLst>
        </pc:spChg>
        <pc:spChg chg="add mod">
          <ac:chgData name="Müller, Kurt (SI BP S TSS TR)" userId="e7e82c7e-80c6-42a5-ab71-24588885b7fe" providerId="ADAL" clId="{9FEA2841-5B76-4EDB-8984-1B2D4375FBAF}" dt="2021-06-22T08:57:38.701" v="712" actId="14100"/>
          <ac:spMkLst>
            <pc:docMk/>
            <pc:sldMk cId="218520005" sldId="2576"/>
            <ac:spMk id="187" creationId="{D961F4C1-3016-4436-A129-96F862608A4F}"/>
          </ac:spMkLst>
        </pc:spChg>
        <pc:spChg chg="add mod">
          <ac:chgData name="Müller, Kurt (SI BP S TSS TR)" userId="e7e82c7e-80c6-42a5-ab71-24588885b7fe" providerId="ADAL" clId="{9FEA2841-5B76-4EDB-8984-1B2D4375FBAF}" dt="2021-06-22T08:51:48.712" v="616"/>
          <ac:spMkLst>
            <pc:docMk/>
            <pc:sldMk cId="218520005" sldId="2576"/>
            <ac:spMk id="188" creationId="{19D17691-B562-4382-BF6D-D08CE2FD02D3}"/>
          </ac:spMkLst>
        </pc:spChg>
        <pc:spChg chg="add mod">
          <ac:chgData name="Müller, Kurt (SI BP S TSS TR)" userId="e7e82c7e-80c6-42a5-ab71-24588885b7fe" providerId="ADAL" clId="{9FEA2841-5B76-4EDB-8984-1B2D4375FBAF}" dt="2021-06-22T08:52:33.513" v="625" actId="14100"/>
          <ac:spMkLst>
            <pc:docMk/>
            <pc:sldMk cId="218520005" sldId="2576"/>
            <ac:spMk id="189" creationId="{01F2A7DE-B837-484D-A1D5-1AFB131B2A31}"/>
          </ac:spMkLst>
        </pc:spChg>
        <pc:spChg chg="add mod">
          <ac:chgData name="Müller, Kurt (SI BP S TSS TR)" userId="e7e82c7e-80c6-42a5-ab71-24588885b7fe" providerId="ADAL" clId="{9FEA2841-5B76-4EDB-8984-1B2D4375FBAF}" dt="2021-06-22T08:52:01.187" v="617" actId="1076"/>
          <ac:spMkLst>
            <pc:docMk/>
            <pc:sldMk cId="218520005" sldId="2576"/>
            <ac:spMk id="190" creationId="{20A55C80-6B6A-4E7F-9E87-E47C4DB3B489}"/>
          </ac:spMkLst>
        </pc:spChg>
        <pc:spChg chg="add mod">
          <ac:chgData name="Müller, Kurt (SI BP S TSS TR)" userId="e7e82c7e-80c6-42a5-ab71-24588885b7fe" providerId="ADAL" clId="{9FEA2841-5B76-4EDB-8984-1B2D4375FBAF}" dt="2021-06-22T08:52:30.721" v="624" actId="1076"/>
          <ac:spMkLst>
            <pc:docMk/>
            <pc:sldMk cId="218520005" sldId="2576"/>
            <ac:spMk id="191" creationId="{951DFB22-EDD9-4426-A801-B80A585E1F0B}"/>
          </ac:spMkLst>
        </pc:spChg>
        <pc:spChg chg="mod">
          <ac:chgData name="Müller, Kurt (SI BP S TSS TR)" userId="e7e82c7e-80c6-42a5-ab71-24588885b7fe" providerId="ADAL" clId="{9FEA2841-5B76-4EDB-8984-1B2D4375FBAF}" dt="2021-06-22T08:51:48.712" v="616"/>
          <ac:spMkLst>
            <pc:docMk/>
            <pc:sldMk cId="218520005" sldId="2576"/>
            <ac:spMk id="194" creationId="{011409C8-C6B8-44CE-87E1-E9BF09720D16}"/>
          </ac:spMkLst>
        </pc:spChg>
        <pc:spChg chg="mod">
          <ac:chgData name="Müller, Kurt (SI BP S TSS TR)" userId="e7e82c7e-80c6-42a5-ab71-24588885b7fe" providerId="ADAL" clId="{9FEA2841-5B76-4EDB-8984-1B2D4375FBAF}" dt="2021-06-22T08:51:48.712" v="616"/>
          <ac:spMkLst>
            <pc:docMk/>
            <pc:sldMk cId="218520005" sldId="2576"/>
            <ac:spMk id="195" creationId="{3B7DEBB0-92F0-4EA2-8AEF-0CA6862B25AB}"/>
          </ac:spMkLst>
        </pc:spChg>
        <pc:spChg chg="mod">
          <ac:chgData name="Müller, Kurt (SI BP S TSS TR)" userId="e7e82c7e-80c6-42a5-ab71-24588885b7fe" providerId="ADAL" clId="{9FEA2841-5B76-4EDB-8984-1B2D4375FBAF}" dt="2021-06-22T08:51:48.712" v="616"/>
          <ac:spMkLst>
            <pc:docMk/>
            <pc:sldMk cId="218520005" sldId="2576"/>
            <ac:spMk id="196" creationId="{E5E33FAF-FAC7-4EA6-9C12-F33735B939C5}"/>
          </ac:spMkLst>
        </pc:spChg>
        <pc:spChg chg="mod">
          <ac:chgData name="Müller, Kurt (SI BP S TSS TR)" userId="e7e82c7e-80c6-42a5-ab71-24588885b7fe" providerId="ADAL" clId="{9FEA2841-5B76-4EDB-8984-1B2D4375FBAF}" dt="2021-06-22T08:51:48.712" v="616"/>
          <ac:spMkLst>
            <pc:docMk/>
            <pc:sldMk cId="218520005" sldId="2576"/>
            <ac:spMk id="197" creationId="{64F0A7DB-4D8A-4AB1-B97E-AD12B3E66FAD}"/>
          </ac:spMkLst>
        </pc:spChg>
        <pc:spChg chg="add 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199" creationId="{29878D5C-7DCE-4CF4-B79E-7B4EACDB1C5A}"/>
          </ac:spMkLst>
        </pc:spChg>
        <pc:spChg chg="add 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00" creationId="{8DAD6EAC-1C88-40FE-80C7-1B778E1F3E93}"/>
          </ac:spMkLst>
        </pc:spChg>
        <pc:spChg chg="add 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01" creationId="{F22FFF72-F635-48AF-96F1-6E219E8E657B}"/>
          </ac:spMkLst>
        </pc:spChg>
        <pc:spChg chg="add 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02" creationId="{5BB460E6-FDE4-475B-9942-8ACA0571A2C3}"/>
          </ac:spMkLst>
        </pc:spChg>
        <pc:spChg chg="add 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03" creationId="{0C585F87-EE55-42B9-B97E-615745AC0EAD}"/>
          </ac:spMkLst>
        </pc:spChg>
        <pc:spChg chg="add 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04" creationId="{AE406BA8-FC96-4507-81F6-1946B6780B72}"/>
          </ac:spMkLst>
        </pc:spChg>
        <pc:spChg chg="add 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05" creationId="{4B6D80B8-416F-4C7D-98D3-68035BE794B1}"/>
          </ac:spMkLst>
        </pc:spChg>
        <pc:spChg chg="add 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06" creationId="{19325E5B-6F71-4AC0-9FE2-E8598FC4D1CD}"/>
          </ac:spMkLst>
        </pc:spChg>
        <pc:spChg chg="add 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07" creationId="{AD33A104-A813-4DCA-BC59-0D8FE261C9EA}"/>
          </ac:spMkLst>
        </pc:spChg>
        <pc:spChg chg="add 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08" creationId="{26B4235E-43D0-44C8-B7CB-460DF1B7F856}"/>
          </ac:spMkLst>
        </pc:spChg>
        <pc:spChg chg="add 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09" creationId="{EB444458-AB58-4C10-9AD0-0792011C5D4B}"/>
          </ac:spMkLst>
        </pc:spChg>
        <pc:spChg chg="add 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10" creationId="{00CD73E1-4B2D-420D-A181-660400CA647D}"/>
          </ac:spMkLst>
        </pc:spChg>
        <pc:spChg chg="add 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11" creationId="{0248C509-98AF-4B31-9032-FE798081412D}"/>
          </ac:spMkLst>
        </pc:spChg>
        <pc:spChg chg="add 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12" creationId="{2612FBC6-C19E-4F04-9F56-D3C7AF9DCDFD}"/>
          </ac:spMkLst>
        </pc:spChg>
        <pc:spChg chg="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15" creationId="{F2D7CA08-BF1A-4A8C-9A9E-4C95D33E7B70}"/>
          </ac:spMkLst>
        </pc:spChg>
        <pc:spChg chg="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16" creationId="{B26E7619-1F8B-4A6C-94FE-CF3773474CBB}"/>
          </ac:spMkLst>
        </pc:spChg>
        <pc:spChg chg="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17" creationId="{C4B92DB9-DE10-450F-9E43-4D08130B9E3E}"/>
          </ac:spMkLst>
        </pc:spChg>
        <pc:spChg chg="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18" creationId="{8F3EDC30-F870-4713-88E4-F933DD1D79F4}"/>
          </ac:spMkLst>
        </pc:spChg>
        <pc:spChg chg="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19" creationId="{6A86EBBD-17A2-4F64-8E70-E2259AE5DC50}"/>
          </ac:spMkLst>
        </pc:spChg>
        <pc:spChg chg="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20" creationId="{8117170A-CA1D-44D0-9143-B207D5D95F93}"/>
          </ac:spMkLst>
        </pc:spChg>
        <pc:spChg chg="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21" creationId="{85CEE738-7271-4AE0-BC26-053EE9011631}"/>
          </ac:spMkLst>
        </pc:spChg>
        <pc:spChg chg="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22" creationId="{691A53EC-5B0C-41C9-83FC-360FBCF2BC57}"/>
          </ac:spMkLst>
        </pc:spChg>
        <pc:spChg chg="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23" creationId="{AA17DD3F-92F9-44CB-A0F6-B8CCF24C5E78}"/>
          </ac:spMkLst>
        </pc:spChg>
        <pc:spChg chg="mod">
          <ac:chgData name="Müller, Kurt (SI BP S TSS TR)" userId="e7e82c7e-80c6-42a5-ab71-24588885b7fe" providerId="ADAL" clId="{9FEA2841-5B76-4EDB-8984-1B2D4375FBAF}" dt="2021-06-22T08:52:23.563" v="623" actId="1076"/>
          <ac:spMkLst>
            <pc:docMk/>
            <pc:sldMk cId="218520005" sldId="2576"/>
            <ac:spMk id="224" creationId="{EF814465-2572-46DE-AFE0-CDAFF01C027F}"/>
          </ac:spMkLst>
        </pc:spChg>
        <pc:spChg chg="del mod">
          <ac:chgData name="Müller, Kurt (SI BP S TSS TR)" userId="e7e82c7e-80c6-42a5-ab71-24588885b7fe" providerId="ADAL" clId="{9FEA2841-5B76-4EDB-8984-1B2D4375FBAF}" dt="2021-06-22T08:57:09.329" v="702" actId="478"/>
          <ac:spMkLst>
            <pc:docMk/>
            <pc:sldMk cId="218520005" sldId="2576"/>
            <ac:spMk id="231" creationId="{64CED230-87E4-41DD-A463-C828B9ABE064}"/>
          </ac:spMkLst>
        </pc:spChg>
        <pc:spChg chg="del mod topLvl">
          <ac:chgData name="Müller, Kurt (SI BP S TSS TR)" userId="e7e82c7e-80c6-42a5-ab71-24588885b7fe" providerId="ADAL" clId="{9FEA2841-5B76-4EDB-8984-1B2D4375FBAF}" dt="2021-06-22T08:57:25.495" v="706" actId="478"/>
          <ac:spMkLst>
            <pc:docMk/>
            <pc:sldMk cId="218520005" sldId="2576"/>
            <ac:spMk id="232" creationId="{C597BDEB-EA63-48DB-A4A2-5E162DD1516A}"/>
          </ac:spMkLst>
        </pc:spChg>
        <pc:spChg chg="del mod topLvl">
          <ac:chgData name="Müller, Kurt (SI BP S TSS TR)" userId="e7e82c7e-80c6-42a5-ab71-24588885b7fe" providerId="ADAL" clId="{9FEA2841-5B76-4EDB-8984-1B2D4375FBAF}" dt="2021-06-22T08:57:25.495" v="706" actId="478"/>
          <ac:spMkLst>
            <pc:docMk/>
            <pc:sldMk cId="218520005" sldId="2576"/>
            <ac:spMk id="233" creationId="{27033FE2-43AC-4CA3-A061-0F0E6215C5C6}"/>
          </ac:spMkLst>
        </pc:spChg>
        <pc:spChg chg="del mod topLvl">
          <ac:chgData name="Müller, Kurt (SI BP S TSS TR)" userId="e7e82c7e-80c6-42a5-ab71-24588885b7fe" providerId="ADAL" clId="{9FEA2841-5B76-4EDB-8984-1B2D4375FBAF}" dt="2021-06-22T08:57:25.495" v="706" actId="478"/>
          <ac:spMkLst>
            <pc:docMk/>
            <pc:sldMk cId="218520005" sldId="2576"/>
            <ac:spMk id="234" creationId="{8D40F4FC-99F1-45FE-A988-32DD8EF64292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35" creationId="{BAC56717-5DF3-4D65-8224-114AD1CAD46E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36" creationId="{F55D036D-1F67-4395-83A9-938493F1A76C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37" creationId="{E65F615A-B158-4253-A751-C37C0BDE29E9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38" creationId="{696DE758-04AE-4281-9D69-D536C56392C3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39" creationId="{7A90E35F-9826-47CF-82A8-3207590D8EEC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40" creationId="{A5292E85-E5B2-4E5A-82F0-FA99AE5120FD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41" creationId="{540FC1F7-F270-4233-A6CF-B40DEB162087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42" creationId="{A7A32240-79E9-423F-B635-E3EFDAAC8998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43" creationId="{449E2054-EE5C-41D5-9F6E-872A693FB197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44" creationId="{E5CD9A35-F8FB-44E3-9D25-D28958FD6FDE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45" creationId="{360B6D81-69C3-4D33-B0B8-D3C4503D912F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46" creationId="{89C58CAC-BCC0-4E98-A54C-2CD8E6A49BBE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47" creationId="{B10EBA11-8CEE-442A-B99C-E05D55C91F2E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48" creationId="{2432641B-8829-401C-BA3E-81AFEB045A87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49" creationId="{4CC574EE-7431-43E3-BCF0-69727344C91E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50" creationId="{476E745C-0E9A-449A-ADF0-9FB5AF43EA9E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51" creationId="{DFF26D0D-20E3-48D3-AB34-D1334C09C406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52" creationId="{F75D90CC-5B68-4EBA-8FF0-55C0F766185C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53" creationId="{80890041-13DD-4852-85B5-2198B00A9531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54" creationId="{13E4EBC6-6271-49A9-81A4-583CB074EB06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55" creationId="{8DCAD5C4-6912-45A3-8D1C-4E75AC932411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56" creationId="{1EC32754-E8C7-4BE7-8FC0-26133149761B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57" creationId="{ED56DB00-8429-411C-A7C5-30A35F4C9181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58" creationId="{D6650105-7F35-4E66-AB10-D9DFE88DBC96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59" creationId="{C84E3E23-9161-453D-904B-B8893AE67457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60" creationId="{0BA1DBAC-E646-4C4D-99FF-BEDF3EA12C28}"/>
          </ac:spMkLst>
        </pc:spChg>
        <pc:spChg chg="mod">
          <ac:chgData name="Müller, Kurt (SI BP S TSS TR)" userId="e7e82c7e-80c6-42a5-ab71-24588885b7fe" providerId="ADAL" clId="{9FEA2841-5B76-4EDB-8984-1B2D4375FBAF}" dt="2021-06-22T08:57:34.655" v="710" actId="1076"/>
          <ac:spMkLst>
            <pc:docMk/>
            <pc:sldMk cId="218520005" sldId="2576"/>
            <ac:spMk id="261" creationId="{A979BB4D-D739-4956-B978-E8E4E471BCD0}"/>
          </ac:spMkLst>
        </pc:spChg>
        <pc:spChg chg="add mod">
          <ac:chgData name="Müller, Kurt (SI BP S TSS TR)" userId="e7e82c7e-80c6-42a5-ab71-24588885b7fe" providerId="ADAL" clId="{9FEA2841-5B76-4EDB-8984-1B2D4375FBAF}" dt="2021-06-22T08:56:55.951" v="700" actId="1076"/>
          <ac:spMkLst>
            <pc:docMk/>
            <pc:sldMk cId="218520005" sldId="2576"/>
            <ac:spMk id="272" creationId="{6CF84B83-B4EF-4DD0-ADC9-8BEE9CF575A3}"/>
          </ac:spMkLst>
        </pc:spChg>
        <pc:spChg chg="add mod">
          <ac:chgData name="Müller, Kurt (SI BP S TSS TR)" userId="e7e82c7e-80c6-42a5-ab71-24588885b7fe" providerId="ADAL" clId="{9FEA2841-5B76-4EDB-8984-1B2D4375FBAF}" dt="2021-06-23T10:46:14.638" v="770" actId="1076"/>
          <ac:spMkLst>
            <pc:docMk/>
            <pc:sldMk cId="218520005" sldId="2576"/>
            <ac:spMk id="273" creationId="{DBCE9F3F-0485-4094-AD9D-31B03C4A0045}"/>
          </ac:spMkLst>
        </pc:spChg>
        <pc:spChg chg="add mod ord">
          <ac:chgData name="Müller, Kurt (SI BP S TSS TR)" userId="e7e82c7e-80c6-42a5-ab71-24588885b7fe" providerId="ADAL" clId="{9FEA2841-5B76-4EDB-8984-1B2D4375FBAF}" dt="2021-06-22T08:59:31.080" v="723" actId="166"/>
          <ac:spMkLst>
            <pc:docMk/>
            <pc:sldMk cId="218520005" sldId="2576"/>
            <ac:spMk id="274" creationId="{01B8BC2B-0A1D-4661-8080-F78B5F8B107C}"/>
          </ac:spMkLst>
        </pc:spChg>
        <pc:spChg chg="add mod">
          <ac:chgData name="Müller, Kurt (SI BP S TSS TR)" userId="e7e82c7e-80c6-42a5-ab71-24588885b7fe" providerId="ADAL" clId="{9FEA2841-5B76-4EDB-8984-1B2D4375FBAF}" dt="2021-06-22T09:01:19.598" v="753"/>
          <ac:spMkLst>
            <pc:docMk/>
            <pc:sldMk cId="218520005" sldId="2576"/>
            <ac:spMk id="275" creationId="{9D9306A2-198A-4206-ADEE-26216095E6B4}"/>
          </ac:spMkLst>
        </pc:spChg>
        <pc:spChg chg="add mod">
          <ac:chgData name="Müller, Kurt (SI BP S TSS TR)" userId="e7e82c7e-80c6-42a5-ab71-24588885b7fe" providerId="ADAL" clId="{9FEA2841-5B76-4EDB-8984-1B2D4375FBAF}" dt="2021-06-22T08:56:22.071" v="681" actId="1076"/>
          <ac:spMkLst>
            <pc:docMk/>
            <pc:sldMk cId="218520005" sldId="2576"/>
            <ac:spMk id="1055" creationId="{D1F0EFEE-BAFA-4471-ACCB-A6F7E1FCE945}"/>
          </ac:spMkLst>
        </pc:spChg>
        <pc:grpChg chg="del">
          <ac:chgData name="Müller, Kurt (SI BP S TSS TR)" userId="e7e82c7e-80c6-42a5-ab71-24588885b7fe" providerId="ADAL" clId="{9FEA2841-5B76-4EDB-8984-1B2D4375FBAF}" dt="2021-06-22T06:37:51.703" v="377" actId="478"/>
          <ac:grpSpMkLst>
            <pc:docMk/>
            <pc:sldMk cId="218520005" sldId="2576"/>
            <ac:grpSpMk id="5" creationId="{669F595A-F3B3-44C8-8CB5-09DCCC9DE011}"/>
          </ac:grpSpMkLst>
        </pc:grpChg>
        <pc:grpChg chg="add mod topLvl">
          <ac:chgData name="Müller, Kurt (SI BP S TSS TR)" userId="e7e82c7e-80c6-42a5-ab71-24588885b7fe" providerId="ADAL" clId="{9FEA2841-5B76-4EDB-8984-1B2D4375FBAF}" dt="2021-06-22T06:54:31.202" v="510" actId="164"/>
          <ac:grpSpMkLst>
            <pc:docMk/>
            <pc:sldMk cId="218520005" sldId="2576"/>
            <ac:grpSpMk id="14" creationId="{9FE19654-BA2B-4F99-9C1C-D7FD79876DBB}"/>
          </ac:grpSpMkLst>
        </pc:grpChg>
        <pc:grpChg chg="add del mod">
          <ac:chgData name="Müller, Kurt (SI BP S TSS TR)" userId="e7e82c7e-80c6-42a5-ab71-24588885b7fe" providerId="ADAL" clId="{9FEA2841-5B76-4EDB-8984-1B2D4375FBAF}" dt="2021-06-22T06:53:33.493" v="486" actId="165"/>
          <ac:grpSpMkLst>
            <pc:docMk/>
            <pc:sldMk cId="218520005" sldId="2576"/>
            <ac:grpSpMk id="15" creationId="{BA92A07C-9A81-40EE-B65C-7A91B8CCDB21}"/>
          </ac:grpSpMkLst>
        </pc:grpChg>
        <pc:grpChg chg="add del mod">
          <ac:chgData name="Müller, Kurt (SI BP S TSS TR)" userId="e7e82c7e-80c6-42a5-ab71-24588885b7fe" providerId="ADAL" clId="{9FEA2841-5B76-4EDB-8984-1B2D4375FBAF}" dt="2021-06-22T06:53:33.493" v="486" actId="165"/>
          <ac:grpSpMkLst>
            <pc:docMk/>
            <pc:sldMk cId="218520005" sldId="2576"/>
            <ac:grpSpMk id="17" creationId="{4FA12C70-979F-49C6-B2B6-353CDF408E0C}"/>
          </ac:grpSpMkLst>
        </pc:grpChg>
        <pc:grpChg chg="add del mod">
          <ac:chgData name="Müller, Kurt (SI BP S TSS TR)" userId="e7e82c7e-80c6-42a5-ab71-24588885b7fe" providerId="ADAL" clId="{9FEA2841-5B76-4EDB-8984-1B2D4375FBAF}" dt="2021-06-22T08:50:16.640" v="604" actId="478"/>
          <ac:grpSpMkLst>
            <pc:docMk/>
            <pc:sldMk cId="218520005" sldId="2576"/>
            <ac:grpSpMk id="18" creationId="{40365306-2147-4C56-8F00-44B1B1221697}"/>
          </ac:grpSpMkLst>
        </pc:grpChg>
        <pc:grpChg chg="add del mod">
          <ac:chgData name="Müller, Kurt (SI BP S TSS TR)" userId="e7e82c7e-80c6-42a5-ab71-24588885b7fe" providerId="ADAL" clId="{9FEA2841-5B76-4EDB-8984-1B2D4375FBAF}" dt="2021-06-22T08:50:16.640" v="604" actId="478"/>
          <ac:grpSpMkLst>
            <pc:docMk/>
            <pc:sldMk cId="218520005" sldId="2576"/>
            <ac:grpSpMk id="31" creationId="{2EA0C4FD-65F9-4F4A-B8B5-360D36B6226C}"/>
          </ac:grpSpMkLst>
        </pc:grpChg>
        <pc:grpChg chg="add del mod">
          <ac:chgData name="Müller, Kurt (SI BP S TSS TR)" userId="e7e82c7e-80c6-42a5-ab71-24588885b7fe" providerId="ADAL" clId="{9FEA2841-5B76-4EDB-8984-1B2D4375FBAF}" dt="2021-06-22T08:50:16.640" v="604" actId="478"/>
          <ac:grpSpMkLst>
            <pc:docMk/>
            <pc:sldMk cId="218520005" sldId="2576"/>
            <ac:grpSpMk id="34" creationId="{0027988D-0874-4536-9A92-E59FB658DF8A}"/>
          </ac:grpSpMkLst>
        </pc:grpChg>
        <pc:grpChg chg="mod">
          <ac:chgData name="Müller, Kurt (SI BP S TSS TR)" userId="e7e82c7e-80c6-42a5-ab71-24588885b7fe" providerId="ADAL" clId="{9FEA2841-5B76-4EDB-8984-1B2D4375FBAF}" dt="2021-06-22T06:40:58.104" v="380"/>
          <ac:grpSpMkLst>
            <pc:docMk/>
            <pc:sldMk cId="218520005" sldId="2576"/>
            <ac:grpSpMk id="36" creationId="{A68DF216-0B2F-4E47-993E-BF1E3DB37B32}"/>
          </ac:grpSpMkLst>
        </pc:grpChg>
        <pc:grpChg chg="mod">
          <ac:chgData name="Müller, Kurt (SI BP S TSS TR)" userId="e7e82c7e-80c6-42a5-ab71-24588885b7fe" providerId="ADAL" clId="{9FEA2841-5B76-4EDB-8984-1B2D4375FBAF}" dt="2021-06-22T06:40:58.104" v="380"/>
          <ac:grpSpMkLst>
            <pc:docMk/>
            <pc:sldMk cId="218520005" sldId="2576"/>
            <ac:grpSpMk id="37" creationId="{B09772BB-A894-476D-B94A-998CA56432D5}"/>
          </ac:grpSpMkLst>
        </pc:grpChg>
        <pc:grpChg chg="add del mod">
          <ac:chgData name="Müller, Kurt (SI BP S TSS TR)" userId="e7e82c7e-80c6-42a5-ab71-24588885b7fe" providerId="ADAL" clId="{9FEA2841-5B76-4EDB-8984-1B2D4375FBAF}" dt="2021-06-22T08:50:16.640" v="604" actId="478"/>
          <ac:grpSpMkLst>
            <pc:docMk/>
            <pc:sldMk cId="218520005" sldId="2576"/>
            <ac:grpSpMk id="50" creationId="{77552CE5-CCD2-41B5-B764-274B995796C0}"/>
          </ac:grpSpMkLst>
        </pc:grpChg>
        <pc:grpChg chg="mod">
          <ac:chgData name="Müller, Kurt (SI BP S TSS TR)" userId="e7e82c7e-80c6-42a5-ab71-24588885b7fe" providerId="ADAL" clId="{9FEA2841-5B76-4EDB-8984-1B2D4375FBAF}" dt="2021-06-22T06:40:58.104" v="380"/>
          <ac:grpSpMkLst>
            <pc:docMk/>
            <pc:sldMk cId="218520005" sldId="2576"/>
            <ac:grpSpMk id="52" creationId="{341CE887-404D-448B-A43A-D4B494A3FF99}"/>
          </ac:grpSpMkLst>
        </pc:grpChg>
        <pc:grpChg chg="mod">
          <ac:chgData name="Müller, Kurt (SI BP S TSS TR)" userId="e7e82c7e-80c6-42a5-ab71-24588885b7fe" providerId="ADAL" clId="{9FEA2841-5B76-4EDB-8984-1B2D4375FBAF}" dt="2021-06-22T06:40:58.104" v="380"/>
          <ac:grpSpMkLst>
            <pc:docMk/>
            <pc:sldMk cId="218520005" sldId="2576"/>
            <ac:grpSpMk id="53" creationId="{FF673785-D2C1-47AE-BA00-9BC7150A818F}"/>
          </ac:grpSpMkLst>
        </pc:grpChg>
        <pc:grpChg chg="add del mod">
          <ac:chgData name="Müller, Kurt (SI BP S TSS TR)" userId="e7e82c7e-80c6-42a5-ab71-24588885b7fe" providerId="ADAL" clId="{9FEA2841-5B76-4EDB-8984-1B2D4375FBAF}" dt="2021-06-22T07:04:29.367" v="522" actId="165"/>
          <ac:grpSpMkLst>
            <pc:docMk/>
            <pc:sldMk cId="218520005" sldId="2576"/>
            <ac:grpSpMk id="73" creationId="{395EB019-873A-4586-9939-318F384B4175}"/>
          </ac:grpSpMkLst>
        </pc:grpChg>
        <pc:grpChg chg="add del mod">
          <ac:chgData name="Müller, Kurt (SI BP S TSS TR)" userId="e7e82c7e-80c6-42a5-ab71-24588885b7fe" providerId="ADAL" clId="{9FEA2841-5B76-4EDB-8984-1B2D4375FBAF}" dt="2021-06-22T07:05:13.344" v="532" actId="165"/>
          <ac:grpSpMkLst>
            <pc:docMk/>
            <pc:sldMk cId="218520005" sldId="2576"/>
            <ac:grpSpMk id="76" creationId="{CC576071-009D-4C55-A55C-EBF8C0611D48}"/>
          </ac:grpSpMkLst>
        </pc:grpChg>
        <pc:grpChg chg="del mod topLvl">
          <ac:chgData name="Müller, Kurt (SI BP S TSS TR)" userId="e7e82c7e-80c6-42a5-ab71-24588885b7fe" providerId="ADAL" clId="{9FEA2841-5B76-4EDB-8984-1B2D4375FBAF}" dt="2021-06-22T07:05:20.366" v="534" actId="165"/>
          <ac:grpSpMkLst>
            <pc:docMk/>
            <pc:sldMk cId="218520005" sldId="2576"/>
            <ac:grpSpMk id="78" creationId="{6A679F22-1957-40A5-92DF-8791BDB08F93}"/>
          </ac:grpSpMkLst>
        </pc:grpChg>
        <pc:grpChg chg="del mod topLvl">
          <ac:chgData name="Müller, Kurt (SI BP S TSS TR)" userId="e7e82c7e-80c6-42a5-ab71-24588885b7fe" providerId="ADAL" clId="{9FEA2841-5B76-4EDB-8984-1B2D4375FBAF}" dt="2021-06-22T08:50:16.640" v="604" actId="478"/>
          <ac:grpSpMkLst>
            <pc:docMk/>
            <pc:sldMk cId="218520005" sldId="2576"/>
            <ac:grpSpMk id="79" creationId="{88E941E5-4416-4F84-9598-0213682B15B9}"/>
          </ac:grpSpMkLst>
        </pc:grpChg>
        <pc:grpChg chg="add del mod">
          <ac:chgData name="Müller, Kurt (SI BP S TSS TR)" userId="e7e82c7e-80c6-42a5-ab71-24588885b7fe" providerId="ADAL" clId="{9FEA2841-5B76-4EDB-8984-1B2D4375FBAF}" dt="2021-06-22T06:42:17.317" v="399" actId="165"/>
          <ac:grpSpMkLst>
            <pc:docMk/>
            <pc:sldMk cId="218520005" sldId="2576"/>
            <ac:grpSpMk id="90" creationId="{AC37B030-0E32-4B36-B23D-0B8A62FF008B}"/>
          </ac:grpSpMkLst>
        </pc:grpChg>
        <pc:grpChg chg="del mod topLvl">
          <ac:chgData name="Müller, Kurt (SI BP S TSS TR)" userId="e7e82c7e-80c6-42a5-ab71-24588885b7fe" providerId="ADAL" clId="{9FEA2841-5B76-4EDB-8984-1B2D4375FBAF}" dt="2021-06-22T08:50:16.640" v="604" actId="478"/>
          <ac:grpSpMkLst>
            <pc:docMk/>
            <pc:sldMk cId="218520005" sldId="2576"/>
            <ac:grpSpMk id="92" creationId="{9540B5B0-3AF6-47DF-AA8B-6012F077AF49}"/>
          </ac:grpSpMkLst>
        </pc:grpChg>
        <pc:grpChg chg="mod topLvl">
          <ac:chgData name="Müller, Kurt (SI BP S TSS TR)" userId="e7e82c7e-80c6-42a5-ab71-24588885b7fe" providerId="ADAL" clId="{9FEA2841-5B76-4EDB-8984-1B2D4375FBAF}" dt="2021-06-22T06:54:31.202" v="510" actId="164"/>
          <ac:grpSpMkLst>
            <pc:docMk/>
            <pc:sldMk cId="218520005" sldId="2576"/>
            <ac:grpSpMk id="93" creationId="{47E20BDE-942F-4AD7-92A4-864E332E1AD7}"/>
          </ac:grpSpMkLst>
        </pc:grpChg>
        <pc:grpChg chg="add mod topLvl">
          <ac:chgData name="Müller, Kurt (SI BP S TSS TR)" userId="e7e82c7e-80c6-42a5-ab71-24588885b7fe" providerId="ADAL" clId="{9FEA2841-5B76-4EDB-8984-1B2D4375FBAF}" dt="2021-06-22T06:54:26.854" v="509" actId="164"/>
          <ac:grpSpMkLst>
            <pc:docMk/>
            <pc:sldMk cId="218520005" sldId="2576"/>
            <ac:grpSpMk id="101" creationId="{F21C1A85-2E71-445F-B114-31AF8BD2C8B5}"/>
          </ac:grpSpMkLst>
        </pc:grpChg>
        <pc:grpChg chg="add mod">
          <ac:chgData name="Müller, Kurt (SI BP S TSS TR)" userId="e7e82c7e-80c6-42a5-ab71-24588885b7fe" providerId="ADAL" clId="{9FEA2841-5B76-4EDB-8984-1B2D4375FBAF}" dt="2021-06-23T10:45:44.511" v="765" actId="1076"/>
          <ac:grpSpMkLst>
            <pc:docMk/>
            <pc:sldMk cId="218520005" sldId="2576"/>
            <ac:grpSpMk id="120" creationId="{7BC5C803-395B-4E9A-A354-6A186F8A4621}"/>
          </ac:grpSpMkLst>
        </pc:grpChg>
        <pc:grpChg chg="add del mod">
          <ac:chgData name="Müller, Kurt (SI BP S TSS TR)" userId="e7e82c7e-80c6-42a5-ab71-24588885b7fe" providerId="ADAL" clId="{9FEA2841-5B76-4EDB-8984-1B2D4375FBAF}" dt="2021-06-22T06:50:13.896" v="452" actId="478"/>
          <ac:grpSpMkLst>
            <pc:docMk/>
            <pc:sldMk cId="218520005" sldId="2576"/>
            <ac:grpSpMk id="124" creationId="{84F00830-764A-4749-945E-80D136E27DDD}"/>
          </ac:grpSpMkLst>
        </pc:grpChg>
        <pc:grpChg chg="del mod">
          <ac:chgData name="Müller, Kurt (SI BP S TSS TR)" userId="e7e82c7e-80c6-42a5-ab71-24588885b7fe" providerId="ADAL" clId="{9FEA2841-5B76-4EDB-8984-1B2D4375FBAF}" dt="2021-06-22T06:50:15.689" v="453" actId="478"/>
          <ac:grpSpMkLst>
            <pc:docMk/>
            <pc:sldMk cId="218520005" sldId="2576"/>
            <ac:grpSpMk id="125" creationId="{357DBED1-8375-4620-9306-74A499157ACF}"/>
          </ac:grpSpMkLst>
        </pc:grpChg>
        <pc:grpChg chg="add mod">
          <ac:chgData name="Müller, Kurt (SI BP S TSS TR)" userId="e7e82c7e-80c6-42a5-ab71-24588885b7fe" providerId="ADAL" clId="{9FEA2841-5B76-4EDB-8984-1B2D4375FBAF}" dt="2021-06-22T08:50:09.742" v="600" actId="1076"/>
          <ac:grpSpMkLst>
            <pc:docMk/>
            <pc:sldMk cId="218520005" sldId="2576"/>
            <ac:grpSpMk id="133" creationId="{8A63F059-9CCD-4DD0-B905-BDAC584C6458}"/>
          </ac:grpSpMkLst>
        </pc:grpChg>
        <pc:grpChg chg="add mod">
          <ac:chgData name="Müller, Kurt (SI BP S TSS TR)" userId="e7e82c7e-80c6-42a5-ab71-24588885b7fe" providerId="ADAL" clId="{9FEA2841-5B76-4EDB-8984-1B2D4375FBAF}" dt="2021-06-22T08:50:09.742" v="600" actId="1076"/>
          <ac:grpSpMkLst>
            <pc:docMk/>
            <pc:sldMk cId="218520005" sldId="2576"/>
            <ac:grpSpMk id="139" creationId="{3DB31EC1-297A-42A2-92CC-9B5EA3B7DE53}"/>
          </ac:grpSpMkLst>
        </pc:grpChg>
        <pc:grpChg chg="add mod ord">
          <ac:chgData name="Müller, Kurt (SI BP S TSS TR)" userId="e7e82c7e-80c6-42a5-ab71-24588885b7fe" providerId="ADAL" clId="{9FEA2841-5B76-4EDB-8984-1B2D4375FBAF}" dt="2021-06-22T08:50:09.742" v="600" actId="1076"/>
          <ac:grpSpMkLst>
            <pc:docMk/>
            <pc:sldMk cId="218520005" sldId="2576"/>
            <ac:grpSpMk id="156" creationId="{0457F5DE-B953-44C6-9312-32EC0591EA30}"/>
          </ac:grpSpMkLst>
        </pc:grpChg>
        <pc:grpChg chg="add mod">
          <ac:chgData name="Müller, Kurt (SI BP S TSS TR)" userId="e7e82c7e-80c6-42a5-ab71-24588885b7fe" providerId="ADAL" clId="{9FEA2841-5B76-4EDB-8984-1B2D4375FBAF}" dt="2021-06-22T08:50:09.742" v="600" actId="1076"/>
          <ac:grpSpMkLst>
            <pc:docMk/>
            <pc:sldMk cId="218520005" sldId="2576"/>
            <ac:grpSpMk id="170" creationId="{677FCABC-3ACB-4897-A218-FF3E7B066DEF}"/>
          </ac:grpSpMkLst>
        </pc:grpChg>
        <pc:grpChg chg="add mod">
          <ac:chgData name="Müller, Kurt (SI BP S TSS TR)" userId="e7e82c7e-80c6-42a5-ab71-24588885b7fe" providerId="ADAL" clId="{9FEA2841-5B76-4EDB-8984-1B2D4375FBAF}" dt="2021-06-22T08:50:09.742" v="600" actId="1076"/>
          <ac:grpSpMkLst>
            <pc:docMk/>
            <pc:sldMk cId="218520005" sldId="2576"/>
            <ac:grpSpMk id="181" creationId="{8321C90D-539C-4CB3-9CD5-FB1F7F0FE1AE}"/>
          </ac:grpSpMkLst>
        </pc:grpChg>
        <pc:grpChg chg="add del mod">
          <ac:chgData name="Müller, Kurt (SI BP S TSS TR)" userId="e7e82c7e-80c6-42a5-ab71-24588885b7fe" providerId="ADAL" clId="{9FEA2841-5B76-4EDB-8984-1B2D4375FBAF}" dt="2021-06-22T08:52:05.410" v="619" actId="478"/>
          <ac:grpSpMkLst>
            <pc:docMk/>
            <pc:sldMk cId="218520005" sldId="2576"/>
            <ac:grpSpMk id="192" creationId="{B89A8864-97E2-4D3F-9972-DAFB3D0BF62A}"/>
          </ac:grpSpMkLst>
        </pc:grpChg>
        <pc:grpChg chg="mod">
          <ac:chgData name="Müller, Kurt (SI BP S TSS TR)" userId="e7e82c7e-80c6-42a5-ab71-24588885b7fe" providerId="ADAL" clId="{9FEA2841-5B76-4EDB-8984-1B2D4375FBAF}" dt="2021-06-22T08:51:48.712" v="616"/>
          <ac:grpSpMkLst>
            <pc:docMk/>
            <pc:sldMk cId="218520005" sldId="2576"/>
            <ac:grpSpMk id="193" creationId="{74CC6EC1-415E-499A-956B-BDF83410DEB0}"/>
          </ac:grpSpMkLst>
        </pc:grpChg>
        <pc:grpChg chg="add mod">
          <ac:chgData name="Müller, Kurt (SI BP S TSS TR)" userId="e7e82c7e-80c6-42a5-ab71-24588885b7fe" providerId="ADAL" clId="{9FEA2841-5B76-4EDB-8984-1B2D4375FBAF}" dt="2021-06-22T08:52:23.563" v="623" actId="1076"/>
          <ac:grpSpMkLst>
            <pc:docMk/>
            <pc:sldMk cId="218520005" sldId="2576"/>
            <ac:grpSpMk id="213" creationId="{BB08FFEE-DBAA-4EF8-B4E2-28260625979D}"/>
          </ac:grpSpMkLst>
        </pc:grpChg>
        <pc:grpChg chg="mod">
          <ac:chgData name="Müller, Kurt (SI BP S TSS TR)" userId="e7e82c7e-80c6-42a5-ab71-24588885b7fe" providerId="ADAL" clId="{9FEA2841-5B76-4EDB-8984-1B2D4375FBAF}" dt="2021-06-22T08:52:23.563" v="623" actId="1076"/>
          <ac:grpSpMkLst>
            <pc:docMk/>
            <pc:sldMk cId="218520005" sldId="2576"/>
            <ac:grpSpMk id="214" creationId="{A520A11F-9674-467E-9E7F-99DD01837EDD}"/>
          </ac:grpSpMkLst>
        </pc:grpChg>
        <pc:grpChg chg="add del mod">
          <ac:chgData name="Müller, Kurt (SI BP S TSS TR)" userId="e7e82c7e-80c6-42a5-ab71-24588885b7fe" providerId="ADAL" clId="{9FEA2841-5B76-4EDB-8984-1B2D4375FBAF}" dt="2021-06-22T08:57:18.593" v="704" actId="165"/>
          <ac:grpSpMkLst>
            <pc:docMk/>
            <pc:sldMk cId="218520005" sldId="2576"/>
            <ac:grpSpMk id="225" creationId="{F024C1D1-AD7C-4706-B810-7D5E71CDB7BC}"/>
          </ac:grpSpMkLst>
        </pc:grpChg>
        <pc:grpChg chg="mod topLvl">
          <ac:chgData name="Müller, Kurt (SI BP S TSS TR)" userId="e7e82c7e-80c6-42a5-ab71-24588885b7fe" providerId="ADAL" clId="{9FEA2841-5B76-4EDB-8984-1B2D4375FBAF}" dt="2021-06-22T08:57:34.655" v="710" actId="1076"/>
          <ac:grpSpMkLst>
            <pc:docMk/>
            <pc:sldMk cId="218520005" sldId="2576"/>
            <ac:grpSpMk id="226" creationId="{ACBA051D-38B6-4E31-8A51-730E80DE4C4E}"/>
          </ac:grpSpMkLst>
        </pc:grpChg>
        <pc:grpChg chg="add mod">
          <ac:chgData name="Müller, Kurt (SI BP S TSS TR)" userId="e7e82c7e-80c6-42a5-ab71-24588885b7fe" providerId="ADAL" clId="{9FEA2841-5B76-4EDB-8984-1B2D4375FBAF}" dt="2021-06-22T08:50:09.742" v="600" actId="1076"/>
          <ac:grpSpMkLst>
            <pc:docMk/>
            <pc:sldMk cId="218520005" sldId="2576"/>
            <ac:grpSpMk id="1024" creationId="{CEBA408E-5B89-4889-A940-8AEA10B9AD8F}"/>
          </ac:grpSpMkLst>
        </pc:grpChg>
        <pc:grpChg chg="add mod">
          <ac:chgData name="Müller, Kurt (SI BP S TSS TR)" userId="e7e82c7e-80c6-42a5-ab71-24588885b7fe" providerId="ADAL" clId="{9FEA2841-5B76-4EDB-8984-1B2D4375FBAF}" dt="2021-06-22T08:50:09.742" v="600" actId="1076"/>
          <ac:grpSpMkLst>
            <pc:docMk/>
            <pc:sldMk cId="218520005" sldId="2576"/>
            <ac:grpSpMk id="1029" creationId="{4ABD8EE3-1BA3-4B31-8704-5EA383EE3856}"/>
          </ac:grpSpMkLst>
        </pc:grpChg>
        <pc:grpChg chg="add mod">
          <ac:chgData name="Müller, Kurt (SI BP S TSS TR)" userId="e7e82c7e-80c6-42a5-ab71-24588885b7fe" providerId="ADAL" clId="{9FEA2841-5B76-4EDB-8984-1B2D4375FBAF}" dt="2021-06-22T08:50:09.742" v="600" actId="1076"/>
          <ac:grpSpMkLst>
            <pc:docMk/>
            <pc:sldMk cId="218520005" sldId="2576"/>
            <ac:grpSpMk id="1030" creationId="{2CA9236E-499F-4B2E-8F84-1F793AA2F199}"/>
          </ac:grpSpMkLst>
        </pc:grpChg>
        <pc:grpChg chg="add del mod">
          <ac:chgData name="Müller, Kurt (SI BP S TSS TR)" userId="e7e82c7e-80c6-42a5-ab71-24588885b7fe" providerId="ADAL" clId="{9FEA2841-5B76-4EDB-8984-1B2D4375FBAF}" dt="2021-06-22T08:47:18.436" v="571" actId="478"/>
          <ac:grpSpMkLst>
            <pc:docMk/>
            <pc:sldMk cId="218520005" sldId="2576"/>
            <ac:grpSpMk id="1039" creationId="{A3052A73-3CDD-4BA2-A486-66F27EC3ED8D}"/>
          </ac:grpSpMkLst>
        </pc:grpChg>
        <pc:graphicFrameChg chg="add mod modGraphic">
          <ac:chgData name="Müller, Kurt (SI BP S TSS TR)" userId="e7e82c7e-80c6-42a5-ab71-24588885b7fe" providerId="ADAL" clId="{9FEA2841-5B76-4EDB-8984-1B2D4375FBAF}" dt="2021-06-22T08:58:13.817" v="719" actId="14100"/>
          <ac:graphicFrameMkLst>
            <pc:docMk/>
            <pc:sldMk cId="218520005" sldId="2576"/>
            <ac:graphicFrameMk id="1048" creationId="{2B8F322D-9305-4662-A67E-916DED4AEB03}"/>
          </ac:graphicFrameMkLst>
        </pc:graphicFrameChg>
        <pc:picChg chg="del">
          <ac:chgData name="Müller, Kurt (SI BP S TSS TR)" userId="e7e82c7e-80c6-42a5-ab71-24588885b7fe" providerId="ADAL" clId="{9FEA2841-5B76-4EDB-8984-1B2D4375FBAF}" dt="2021-06-22T06:37:51.703" v="377" actId="478"/>
          <ac:picMkLst>
            <pc:docMk/>
            <pc:sldMk cId="218520005" sldId="2576"/>
            <ac:picMk id="6" creationId="{916FE53E-2B5C-4D35-BC61-1C09B314FB64}"/>
          </ac:picMkLst>
        </pc:picChg>
        <pc:picChg chg="del">
          <ac:chgData name="Müller, Kurt (SI BP S TSS TR)" userId="e7e82c7e-80c6-42a5-ab71-24588885b7fe" providerId="ADAL" clId="{9FEA2841-5B76-4EDB-8984-1B2D4375FBAF}" dt="2021-06-22T06:37:51.703" v="377" actId="478"/>
          <ac:picMkLst>
            <pc:docMk/>
            <pc:sldMk cId="218520005" sldId="2576"/>
            <ac:picMk id="12" creationId="{641CF423-A909-4037-861B-5470B5AE2FB1}"/>
          </ac:picMkLst>
        </pc:picChg>
        <pc:picChg chg="del">
          <ac:chgData name="Müller, Kurt (SI BP S TSS TR)" userId="e7e82c7e-80c6-42a5-ab71-24588885b7fe" providerId="ADAL" clId="{9FEA2841-5B76-4EDB-8984-1B2D4375FBAF}" dt="2021-06-22T06:37:51.703" v="377" actId="478"/>
          <ac:picMkLst>
            <pc:docMk/>
            <pc:sldMk cId="218520005" sldId="2576"/>
            <ac:picMk id="44" creationId="{C1F50641-BB71-452D-9467-7F7CB44455BE}"/>
          </ac:picMkLst>
        </pc:picChg>
        <pc:picChg chg="add mod">
          <ac:chgData name="Müller, Kurt (SI BP S TSS TR)" userId="e7e82c7e-80c6-42a5-ab71-24588885b7fe" providerId="ADAL" clId="{9FEA2841-5B76-4EDB-8984-1B2D4375FBAF}" dt="2021-06-22T08:50:38.986" v="610" actId="1076"/>
          <ac:picMkLst>
            <pc:docMk/>
            <pc:sldMk cId="218520005" sldId="2576"/>
            <ac:picMk id="109" creationId="{74CF508A-544C-41D6-9E1F-4013AA2E7F87}"/>
          </ac:picMkLst>
        </pc:picChg>
        <pc:picChg chg="add mod">
          <ac:chgData name="Müller, Kurt (SI BP S TSS TR)" userId="e7e82c7e-80c6-42a5-ab71-24588885b7fe" providerId="ADAL" clId="{9FEA2841-5B76-4EDB-8984-1B2D4375FBAF}" dt="2021-06-23T10:46:28.731" v="773" actId="1076"/>
          <ac:picMkLst>
            <pc:docMk/>
            <pc:sldMk cId="218520005" sldId="2576"/>
            <ac:picMk id="186" creationId="{AA1F9A0C-1963-4335-9CBE-7DF1A48B16F0}"/>
          </ac:picMkLst>
        </pc:picChg>
        <pc:picChg chg="add del mod">
          <ac:chgData name="Müller, Kurt (SI BP S TSS TR)" userId="e7e82c7e-80c6-42a5-ab71-24588885b7fe" providerId="ADAL" clId="{9FEA2841-5B76-4EDB-8984-1B2D4375FBAF}" dt="2021-06-22T08:52:02.873" v="618" actId="478"/>
          <ac:picMkLst>
            <pc:docMk/>
            <pc:sldMk cId="218520005" sldId="2576"/>
            <ac:picMk id="198" creationId="{D710BD34-9A55-4C38-B1EB-702A3A576F60}"/>
          </ac:picMkLst>
        </pc:picChg>
        <pc:picChg chg="add mod">
          <ac:chgData name="Müller, Kurt (SI BP S TSS TR)" userId="e7e82c7e-80c6-42a5-ab71-24588885b7fe" providerId="ADAL" clId="{9FEA2841-5B76-4EDB-8984-1B2D4375FBAF}" dt="2021-06-23T10:46:30.259" v="774" actId="1076"/>
          <ac:picMkLst>
            <pc:docMk/>
            <pc:sldMk cId="218520005" sldId="2576"/>
            <ac:picMk id="276" creationId="{2F99B504-38C4-40EE-9077-41824EAFAEAF}"/>
          </ac:picMkLst>
        </pc:picChg>
        <pc:picChg chg="add mod">
          <ac:chgData name="Müller, Kurt (SI BP S TSS TR)" userId="e7e82c7e-80c6-42a5-ab71-24588885b7fe" providerId="ADAL" clId="{9FEA2841-5B76-4EDB-8984-1B2D4375FBAF}" dt="2021-06-22T08:50:40.881" v="611" actId="1076"/>
          <ac:picMkLst>
            <pc:docMk/>
            <pc:sldMk cId="218520005" sldId="2576"/>
            <ac:picMk id="1026" creationId="{8B27365B-8CD9-4964-A89F-E605EE0BBD1C}"/>
          </ac:picMkLst>
        </pc:picChg>
        <pc:picChg chg="add del mod">
          <ac:chgData name="Müller, Kurt (SI BP S TSS TR)" userId="e7e82c7e-80c6-42a5-ab71-24588885b7fe" providerId="ADAL" clId="{9FEA2841-5B76-4EDB-8984-1B2D4375FBAF}" dt="2021-06-22T08:56:43.743" v="698" actId="478"/>
          <ac:picMkLst>
            <pc:docMk/>
            <pc:sldMk cId="218520005" sldId="2576"/>
            <ac:picMk id="1050" creationId="{04AA1CA0-7FC1-4E56-94D7-0631B0390BD1}"/>
          </ac:picMkLst>
        </pc:picChg>
        <pc:picChg chg="add del mod">
          <ac:chgData name="Müller, Kurt (SI BP S TSS TR)" userId="e7e82c7e-80c6-42a5-ab71-24588885b7fe" providerId="ADAL" clId="{9FEA2841-5B76-4EDB-8984-1B2D4375FBAF}" dt="2021-06-22T08:56:31.775" v="689" actId="478"/>
          <ac:picMkLst>
            <pc:docMk/>
            <pc:sldMk cId="218520005" sldId="2576"/>
            <ac:picMk id="1052" creationId="{11D3C762-DDC9-48DA-9730-97A5188B739A}"/>
          </ac:picMkLst>
        </pc:picChg>
        <pc:picChg chg="add del mod">
          <ac:chgData name="Müller, Kurt (SI BP S TSS TR)" userId="e7e82c7e-80c6-42a5-ab71-24588885b7fe" providerId="ADAL" clId="{9FEA2841-5B76-4EDB-8984-1B2D4375FBAF}" dt="2021-06-22T08:56:18.271" v="680" actId="478"/>
          <ac:picMkLst>
            <pc:docMk/>
            <pc:sldMk cId="218520005" sldId="2576"/>
            <ac:picMk id="1054" creationId="{5DF66504-C805-4FDA-855D-F68C400A0391}"/>
          </ac:picMkLst>
        </pc:picChg>
        <pc:cxnChg chg="add del mod">
          <ac:chgData name="Müller, Kurt (SI BP S TSS TR)" userId="e7e82c7e-80c6-42a5-ab71-24588885b7fe" providerId="ADAL" clId="{9FEA2841-5B76-4EDB-8984-1B2D4375FBAF}" dt="2021-06-22T06:43:39.539" v="414" actId="478"/>
          <ac:cxnSpMkLst>
            <pc:docMk/>
            <pc:sldMk cId="218520005" sldId="2576"/>
            <ac:cxnSpMk id="9" creationId="{A06E32C6-4A50-45F2-AB08-83E6C691F9EF}"/>
          </ac:cxnSpMkLst>
        </pc:cxnChg>
        <pc:cxnChg chg="add del mod">
          <ac:chgData name="Müller, Kurt (SI BP S TSS TR)" userId="e7e82c7e-80c6-42a5-ab71-24588885b7fe" providerId="ADAL" clId="{9FEA2841-5B76-4EDB-8984-1B2D4375FBAF}" dt="2021-06-22T08:50:16.640" v="604" actId="478"/>
          <ac:cxnSpMkLst>
            <pc:docMk/>
            <pc:sldMk cId="218520005" sldId="2576"/>
            <ac:cxnSpMk id="22" creationId="{3EDE449E-9620-4B9D-8A31-54BA63B6925B}"/>
          </ac:cxnSpMkLst>
        </pc:cxnChg>
        <pc:cxnChg chg="add del mod">
          <ac:chgData name="Müller, Kurt (SI BP S TSS TR)" userId="e7e82c7e-80c6-42a5-ab71-24588885b7fe" providerId="ADAL" clId="{9FEA2841-5B76-4EDB-8984-1B2D4375FBAF}" dt="2021-06-22T08:50:16.640" v="604" actId="478"/>
          <ac:cxnSpMkLst>
            <pc:docMk/>
            <pc:sldMk cId="218520005" sldId="2576"/>
            <ac:cxnSpMk id="25" creationId="{26EC6C6A-CBCD-403C-9694-91115629AD58}"/>
          </ac:cxnSpMkLst>
        </pc:cxnChg>
        <pc:cxnChg chg="add del mod">
          <ac:chgData name="Müller, Kurt (SI BP S TSS TR)" userId="e7e82c7e-80c6-42a5-ab71-24588885b7fe" providerId="ADAL" clId="{9FEA2841-5B76-4EDB-8984-1B2D4375FBAF}" dt="2021-06-22T08:50:16.640" v="604" actId="478"/>
          <ac:cxnSpMkLst>
            <pc:docMk/>
            <pc:sldMk cId="218520005" sldId="2576"/>
            <ac:cxnSpMk id="28" creationId="{A5AD6D27-6174-44DA-B56E-9DF33DDDA625}"/>
          </ac:cxnSpMkLst>
        </pc:cxnChg>
        <pc:cxnChg chg="mod">
          <ac:chgData name="Müller, Kurt (SI BP S TSS TR)" userId="e7e82c7e-80c6-42a5-ab71-24588885b7fe" providerId="ADAL" clId="{9FEA2841-5B76-4EDB-8984-1B2D4375FBAF}" dt="2021-06-22T06:40:58.104" v="380"/>
          <ac:cxnSpMkLst>
            <pc:docMk/>
            <pc:sldMk cId="218520005" sldId="2576"/>
            <ac:cxnSpMk id="35" creationId="{B03396BA-6B9E-41AC-A43B-E7F8778A6639}"/>
          </ac:cxnSpMkLst>
        </pc:cxnChg>
        <pc:cxnChg chg="mod">
          <ac:chgData name="Müller, Kurt (SI BP S TSS TR)" userId="e7e82c7e-80c6-42a5-ab71-24588885b7fe" providerId="ADAL" clId="{9FEA2841-5B76-4EDB-8984-1B2D4375FBAF}" dt="2021-06-22T06:40:58.104" v="380"/>
          <ac:cxnSpMkLst>
            <pc:docMk/>
            <pc:sldMk cId="218520005" sldId="2576"/>
            <ac:cxnSpMk id="38" creationId="{A63E5A44-C7C6-43A0-B227-2ECB8AFA8B43}"/>
          </ac:cxnSpMkLst>
        </pc:cxnChg>
        <pc:cxnChg chg="mod">
          <ac:chgData name="Müller, Kurt (SI BP S TSS TR)" userId="e7e82c7e-80c6-42a5-ab71-24588885b7fe" providerId="ADAL" clId="{9FEA2841-5B76-4EDB-8984-1B2D4375FBAF}" dt="2021-06-22T06:40:58.104" v="380"/>
          <ac:cxnSpMkLst>
            <pc:docMk/>
            <pc:sldMk cId="218520005" sldId="2576"/>
            <ac:cxnSpMk id="39" creationId="{4F60699E-E77F-41E1-90F5-2C5D3EF77589}"/>
          </ac:cxnSpMkLst>
        </pc:cxnChg>
        <pc:cxnChg chg="mod">
          <ac:chgData name="Müller, Kurt (SI BP S TSS TR)" userId="e7e82c7e-80c6-42a5-ab71-24588885b7fe" providerId="ADAL" clId="{9FEA2841-5B76-4EDB-8984-1B2D4375FBAF}" dt="2021-06-22T06:40:58.104" v="380"/>
          <ac:cxnSpMkLst>
            <pc:docMk/>
            <pc:sldMk cId="218520005" sldId="2576"/>
            <ac:cxnSpMk id="40" creationId="{48532B12-C062-40EF-A5A7-D2F9A5D502B8}"/>
          </ac:cxnSpMkLst>
        </pc:cxnChg>
        <pc:cxnChg chg="mod">
          <ac:chgData name="Müller, Kurt (SI BP S TSS TR)" userId="e7e82c7e-80c6-42a5-ab71-24588885b7fe" providerId="ADAL" clId="{9FEA2841-5B76-4EDB-8984-1B2D4375FBAF}" dt="2021-06-22T06:40:58.104" v="380"/>
          <ac:cxnSpMkLst>
            <pc:docMk/>
            <pc:sldMk cId="218520005" sldId="2576"/>
            <ac:cxnSpMk id="43" creationId="{128EA25F-6F39-4051-B9E5-CD46182A9DEA}"/>
          </ac:cxnSpMkLst>
        </pc:cxnChg>
        <pc:cxnChg chg="mod">
          <ac:chgData name="Müller, Kurt (SI BP S TSS TR)" userId="e7e82c7e-80c6-42a5-ab71-24588885b7fe" providerId="ADAL" clId="{9FEA2841-5B76-4EDB-8984-1B2D4375FBAF}" dt="2021-06-22T06:40:58.104" v="380"/>
          <ac:cxnSpMkLst>
            <pc:docMk/>
            <pc:sldMk cId="218520005" sldId="2576"/>
            <ac:cxnSpMk id="51" creationId="{73A422C8-5F61-4FAB-8C7B-CAF64AC902F8}"/>
          </ac:cxnSpMkLst>
        </pc:cxnChg>
        <pc:cxnChg chg="mod">
          <ac:chgData name="Müller, Kurt (SI BP S TSS TR)" userId="e7e82c7e-80c6-42a5-ab71-24588885b7fe" providerId="ADAL" clId="{9FEA2841-5B76-4EDB-8984-1B2D4375FBAF}" dt="2021-06-22T06:40:58.104" v="380"/>
          <ac:cxnSpMkLst>
            <pc:docMk/>
            <pc:sldMk cId="218520005" sldId="2576"/>
            <ac:cxnSpMk id="55" creationId="{5AF9F8C4-22CD-4E4A-A507-D362ED83FA31}"/>
          </ac:cxnSpMkLst>
        </pc:cxnChg>
        <pc:cxnChg chg="mod">
          <ac:chgData name="Müller, Kurt (SI BP S TSS TR)" userId="e7e82c7e-80c6-42a5-ab71-24588885b7fe" providerId="ADAL" clId="{9FEA2841-5B76-4EDB-8984-1B2D4375FBAF}" dt="2021-06-22T06:40:58.104" v="380"/>
          <ac:cxnSpMkLst>
            <pc:docMk/>
            <pc:sldMk cId="218520005" sldId="2576"/>
            <ac:cxnSpMk id="56" creationId="{0959BE66-D488-4490-873E-A9793A10A409}"/>
          </ac:cxnSpMkLst>
        </pc:cxnChg>
        <pc:cxnChg chg="mod">
          <ac:chgData name="Müller, Kurt (SI BP S TSS TR)" userId="e7e82c7e-80c6-42a5-ab71-24588885b7fe" providerId="ADAL" clId="{9FEA2841-5B76-4EDB-8984-1B2D4375FBAF}" dt="2021-06-22T06:40:58.104" v="380"/>
          <ac:cxnSpMkLst>
            <pc:docMk/>
            <pc:sldMk cId="218520005" sldId="2576"/>
            <ac:cxnSpMk id="58" creationId="{D20C1D8A-051B-485D-9D97-BC80F46DB556}"/>
          </ac:cxnSpMkLst>
        </pc:cxnChg>
        <pc:cxnChg chg="mod">
          <ac:chgData name="Müller, Kurt (SI BP S TSS TR)" userId="e7e82c7e-80c6-42a5-ab71-24588885b7fe" providerId="ADAL" clId="{9FEA2841-5B76-4EDB-8984-1B2D4375FBAF}" dt="2021-06-22T06:40:58.104" v="380"/>
          <ac:cxnSpMkLst>
            <pc:docMk/>
            <pc:sldMk cId="218520005" sldId="2576"/>
            <ac:cxnSpMk id="59" creationId="{224D1D98-222E-4F13-BE29-B33F56B19B57}"/>
          </ac:cxnSpMkLst>
        </pc:cxnChg>
        <pc:cxnChg chg="mod">
          <ac:chgData name="Müller, Kurt (SI BP S TSS TR)" userId="e7e82c7e-80c6-42a5-ab71-24588885b7fe" providerId="ADAL" clId="{9FEA2841-5B76-4EDB-8984-1B2D4375FBAF}" dt="2021-06-22T06:40:58.104" v="380"/>
          <ac:cxnSpMkLst>
            <pc:docMk/>
            <pc:sldMk cId="218520005" sldId="2576"/>
            <ac:cxnSpMk id="60" creationId="{F936C3A2-E184-4E2B-8A8D-3B156EBA410A}"/>
          </ac:cxnSpMkLst>
        </pc:cxnChg>
        <pc:cxnChg chg="add del mod">
          <ac:chgData name="Müller, Kurt (SI BP S TSS TR)" userId="e7e82c7e-80c6-42a5-ab71-24588885b7fe" providerId="ADAL" clId="{9FEA2841-5B76-4EDB-8984-1B2D4375FBAF}" dt="2021-06-22T08:50:16.640" v="604" actId="478"/>
          <ac:cxnSpMkLst>
            <pc:docMk/>
            <pc:sldMk cId="218520005" sldId="2576"/>
            <ac:cxnSpMk id="61" creationId="{BA1F2D3A-E75A-41ED-B5FF-391A99ACE302}"/>
          </ac:cxnSpMkLst>
        </pc:cxnChg>
        <pc:cxnChg chg="add del mod">
          <ac:chgData name="Müller, Kurt (SI BP S TSS TR)" userId="e7e82c7e-80c6-42a5-ab71-24588885b7fe" providerId="ADAL" clId="{9FEA2841-5B76-4EDB-8984-1B2D4375FBAF}" dt="2021-06-22T08:50:16.640" v="604" actId="478"/>
          <ac:cxnSpMkLst>
            <pc:docMk/>
            <pc:sldMk cId="218520005" sldId="2576"/>
            <ac:cxnSpMk id="62" creationId="{0CF6EE67-48C1-4360-A746-B95AF5BD8F72}"/>
          </ac:cxnSpMkLst>
        </pc:cxnChg>
        <pc:cxnChg chg="add del mod">
          <ac:chgData name="Müller, Kurt (SI BP S TSS TR)" userId="e7e82c7e-80c6-42a5-ab71-24588885b7fe" providerId="ADAL" clId="{9FEA2841-5B76-4EDB-8984-1B2D4375FBAF}" dt="2021-06-22T08:50:16.640" v="604" actId="478"/>
          <ac:cxnSpMkLst>
            <pc:docMk/>
            <pc:sldMk cId="218520005" sldId="2576"/>
            <ac:cxnSpMk id="63" creationId="{87F8CF5E-5D52-4ECA-81C5-B67F3C1F4BF7}"/>
          </ac:cxnSpMkLst>
        </pc:cxnChg>
        <pc:cxnChg chg="add del mod">
          <ac:chgData name="Müller, Kurt (SI BP S TSS TR)" userId="e7e82c7e-80c6-42a5-ab71-24588885b7fe" providerId="ADAL" clId="{9FEA2841-5B76-4EDB-8984-1B2D4375FBAF}" dt="2021-06-22T08:50:16.640" v="604" actId="478"/>
          <ac:cxnSpMkLst>
            <pc:docMk/>
            <pc:sldMk cId="218520005" sldId="2576"/>
            <ac:cxnSpMk id="64" creationId="{AA0D5A3E-D8F9-4F30-9898-8E872C203DD0}"/>
          </ac:cxnSpMkLst>
        </pc:cxnChg>
        <pc:cxnChg chg="add del mod">
          <ac:chgData name="Müller, Kurt (SI BP S TSS TR)" userId="e7e82c7e-80c6-42a5-ab71-24588885b7fe" providerId="ADAL" clId="{9FEA2841-5B76-4EDB-8984-1B2D4375FBAF}" dt="2021-06-22T08:50:16.640" v="604" actId="478"/>
          <ac:cxnSpMkLst>
            <pc:docMk/>
            <pc:sldMk cId="218520005" sldId="2576"/>
            <ac:cxnSpMk id="65" creationId="{A31008A4-BF89-45A9-BC04-3BE4A644BBF4}"/>
          </ac:cxnSpMkLst>
        </pc:cxnChg>
        <pc:cxnChg chg="add del mod">
          <ac:chgData name="Müller, Kurt (SI BP S TSS TR)" userId="e7e82c7e-80c6-42a5-ab71-24588885b7fe" providerId="ADAL" clId="{9FEA2841-5B76-4EDB-8984-1B2D4375FBAF}" dt="2021-06-22T07:04:46.392" v="525" actId="478"/>
          <ac:cxnSpMkLst>
            <pc:docMk/>
            <pc:sldMk cId="218520005" sldId="2576"/>
            <ac:cxnSpMk id="68" creationId="{EE76C440-2A2B-4C49-A1D9-67B807590C87}"/>
          </ac:cxnSpMkLst>
        </pc:cxnChg>
        <pc:cxnChg chg="add del mod">
          <ac:chgData name="Müller, Kurt (SI BP S TSS TR)" userId="e7e82c7e-80c6-42a5-ab71-24588885b7fe" providerId="ADAL" clId="{9FEA2841-5B76-4EDB-8984-1B2D4375FBAF}" dt="2021-06-22T08:50:16.640" v="604" actId="478"/>
          <ac:cxnSpMkLst>
            <pc:docMk/>
            <pc:sldMk cId="218520005" sldId="2576"/>
            <ac:cxnSpMk id="71" creationId="{52146389-12E1-45D9-B715-21FF79201F1E}"/>
          </ac:cxnSpMkLst>
        </pc:cxnChg>
        <pc:cxnChg chg="add mod">
          <ac:chgData name="Müller, Kurt (SI BP S TSS TR)" userId="e7e82c7e-80c6-42a5-ab71-24588885b7fe" providerId="ADAL" clId="{9FEA2841-5B76-4EDB-8984-1B2D4375FBAF}" dt="2021-06-22T08:47:18.436" v="571" actId="478"/>
          <ac:cxnSpMkLst>
            <pc:docMk/>
            <pc:sldMk cId="218520005" sldId="2576"/>
            <ac:cxnSpMk id="72" creationId="{4D307B56-C823-4203-BB1D-EBDBE445C761}"/>
          </ac:cxnSpMkLst>
        </pc:cxnChg>
        <pc:cxnChg chg="del mod topLvl">
          <ac:chgData name="Müller, Kurt (SI BP S TSS TR)" userId="e7e82c7e-80c6-42a5-ab71-24588885b7fe" providerId="ADAL" clId="{9FEA2841-5B76-4EDB-8984-1B2D4375FBAF}" dt="2021-06-22T08:50:16.640" v="604" actId="478"/>
          <ac:cxnSpMkLst>
            <pc:docMk/>
            <pc:sldMk cId="218520005" sldId="2576"/>
            <ac:cxnSpMk id="77" creationId="{57E00046-975E-44F2-B139-F095979181E4}"/>
          </ac:cxnSpMkLst>
        </pc:cxnChg>
        <pc:cxnChg chg="mod">
          <ac:chgData name="Müller, Kurt (SI BP S TSS TR)" userId="e7e82c7e-80c6-42a5-ab71-24588885b7fe" providerId="ADAL" clId="{9FEA2841-5B76-4EDB-8984-1B2D4375FBAF}" dt="2021-06-22T07:05:13.344" v="532" actId="165"/>
          <ac:cxnSpMkLst>
            <pc:docMk/>
            <pc:sldMk cId="218520005" sldId="2576"/>
            <ac:cxnSpMk id="80" creationId="{A4404B2B-4FA0-4B5D-83B6-D231BB617134}"/>
          </ac:cxnSpMkLst>
        </pc:cxnChg>
        <pc:cxnChg chg="mod">
          <ac:chgData name="Müller, Kurt (SI BP S TSS TR)" userId="e7e82c7e-80c6-42a5-ab71-24588885b7fe" providerId="ADAL" clId="{9FEA2841-5B76-4EDB-8984-1B2D4375FBAF}" dt="2021-06-22T07:05:13.344" v="532" actId="165"/>
          <ac:cxnSpMkLst>
            <pc:docMk/>
            <pc:sldMk cId="218520005" sldId="2576"/>
            <ac:cxnSpMk id="81" creationId="{EFB94AAF-E656-46BC-A2A9-0C8AA7C29A6F}"/>
          </ac:cxnSpMkLst>
        </pc:cxnChg>
        <pc:cxnChg chg="mod">
          <ac:chgData name="Müller, Kurt (SI BP S TSS TR)" userId="e7e82c7e-80c6-42a5-ab71-24588885b7fe" providerId="ADAL" clId="{9FEA2841-5B76-4EDB-8984-1B2D4375FBAF}" dt="2021-06-22T07:05:13.344" v="532" actId="165"/>
          <ac:cxnSpMkLst>
            <pc:docMk/>
            <pc:sldMk cId="218520005" sldId="2576"/>
            <ac:cxnSpMk id="82" creationId="{17BD3B5B-C9BE-4C01-A137-946801340F5C}"/>
          </ac:cxnSpMkLst>
        </pc:cxnChg>
        <pc:cxnChg chg="del mod topLvl">
          <ac:chgData name="Müller, Kurt (SI BP S TSS TR)" userId="e7e82c7e-80c6-42a5-ab71-24588885b7fe" providerId="ADAL" clId="{9FEA2841-5B76-4EDB-8984-1B2D4375FBAF}" dt="2021-06-22T08:50:16.640" v="604" actId="478"/>
          <ac:cxnSpMkLst>
            <pc:docMk/>
            <pc:sldMk cId="218520005" sldId="2576"/>
            <ac:cxnSpMk id="85" creationId="{0200C692-A732-4006-9D8D-FEC9C051DD05}"/>
          </ac:cxnSpMkLst>
        </pc:cxnChg>
        <pc:cxnChg chg="add del mod">
          <ac:chgData name="Müller, Kurt (SI BP S TSS TR)" userId="e7e82c7e-80c6-42a5-ab71-24588885b7fe" providerId="ADAL" clId="{9FEA2841-5B76-4EDB-8984-1B2D4375FBAF}" dt="2021-06-22T08:50:16.640" v="604" actId="478"/>
          <ac:cxnSpMkLst>
            <pc:docMk/>
            <pc:sldMk cId="218520005" sldId="2576"/>
            <ac:cxnSpMk id="87" creationId="{DF800FE7-DA37-4991-B8AD-014A4ACACEFA}"/>
          </ac:cxnSpMkLst>
        </pc:cxnChg>
        <pc:cxnChg chg="del mod topLvl">
          <ac:chgData name="Müller, Kurt (SI BP S TSS TR)" userId="e7e82c7e-80c6-42a5-ab71-24588885b7fe" providerId="ADAL" clId="{9FEA2841-5B76-4EDB-8984-1B2D4375FBAF}" dt="2021-06-22T06:42:36.835" v="403" actId="478"/>
          <ac:cxnSpMkLst>
            <pc:docMk/>
            <pc:sldMk cId="218520005" sldId="2576"/>
            <ac:cxnSpMk id="91" creationId="{0BFB1703-DE72-4D38-822E-F4BA4F521B35}"/>
          </ac:cxnSpMkLst>
        </pc:cxnChg>
        <pc:cxnChg chg="mod">
          <ac:chgData name="Müller, Kurt (SI BP S TSS TR)" userId="e7e82c7e-80c6-42a5-ab71-24588885b7fe" providerId="ADAL" clId="{9FEA2841-5B76-4EDB-8984-1B2D4375FBAF}" dt="2021-06-22T06:53:33.493" v="486" actId="165"/>
          <ac:cxnSpMkLst>
            <pc:docMk/>
            <pc:sldMk cId="218520005" sldId="2576"/>
            <ac:cxnSpMk id="95" creationId="{49CD0C1F-BE98-458F-B74D-C31A667CC815}"/>
          </ac:cxnSpMkLst>
        </pc:cxnChg>
        <pc:cxnChg chg="del mod">
          <ac:chgData name="Müller, Kurt (SI BP S TSS TR)" userId="e7e82c7e-80c6-42a5-ab71-24588885b7fe" providerId="ADAL" clId="{9FEA2841-5B76-4EDB-8984-1B2D4375FBAF}" dt="2021-06-22T06:42:44.822" v="405" actId="478"/>
          <ac:cxnSpMkLst>
            <pc:docMk/>
            <pc:sldMk cId="218520005" sldId="2576"/>
            <ac:cxnSpMk id="96" creationId="{09871874-41C2-4619-B2BB-F24CFD4FEEC4}"/>
          </ac:cxnSpMkLst>
        </pc:cxnChg>
        <pc:cxnChg chg="mod">
          <ac:chgData name="Müller, Kurt (SI BP S TSS TR)" userId="e7e82c7e-80c6-42a5-ab71-24588885b7fe" providerId="ADAL" clId="{9FEA2841-5B76-4EDB-8984-1B2D4375FBAF}" dt="2021-06-22T06:52:54.126" v="482" actId="1076"/>
          <ac:cxnSpMkLst>
            <pc:docMk/>
            <pc:sldMk cId="218520005" sldId="2576"/>
            <ac:cxnSpMk id="98" creationId="{676F9653-2C37-4E6C-8042-30EDA94351E5}"/>
          </ac:cxnSpMkLst>
        </pc:cxnChg>
        <pc:cxnChg chg="mod">
          <ac:chgData name="Müller, Kurt (SI BP S TSS TR)" userId="e7e82c7e-80c6-42a5-ab71-24588885b7fe" providerId="ADAL" clId="{9FEA2841-5B76-4EDB-8984-1B2D4375FBAF}" dt="2021-06-22T06:52:54.126" v="482" actId="1076"/>
          <ac:cxnSpMkLst>
            <pc:docMk/>
            <pc:sldMk cId="218520005" sldId="2576"/>
            <ac:cxnSpMk id="99" creationId="{0EEDE243-3E1B-490C-97A7-FAAF2B6F6586}"/>
          </ac:cxnSpMkLst>
        </pc:cxnChg>
        <pc:cxnChg chg="mod">
          <ac:chgData name="Müller, Kurt (SI BP S TSS TR)" userId="e7e82c7e-80c6-42a5-ab71-24588885b7fe" providerId="ADAL" clId="{9FEA2841-5B76-4EDB-8984-1B2D4375FBAF}" dt="2021-06-22T06:52:54.126" v="482" actId="1076"/>
          <ac:cxnSpMkLst>
            <pc:docMk/>
            <pc:sldMk cId="218520005" sldId="2576"/>
            <ac:cxnSpMk id="100" creationId="{A8E7D9E0-DB8F-4CE5-A265-BE5072411152}"/>
          </ac:cxnSpMkLst>
        </pc:cxnChg>
        <pc:cxnChg chg="mod">
          <ac:chgData name="Müller, Kurt (SI BP S TSS TR)" userId="e7e82c7e-80c6-42a5-ab71-24588885b7fe" providerId="ADAL" clId="{9FEA2841-5B76-4EDB-8984-1B2D4375FBAF}" dt="2021-06-22T06:53:33.493" v="486" actId="165"/>
          <ac:cxnSpMkLst>
            <pc:docMk/>
            <pc:sldMk cId="218520005" sldId="2576"/>
            <ac:cxnSpMk id="103" creationId="{D49CC82B-51AF-4253-AA2F-79C4B18B752E}"/>
          </ac:cxnSpMkLst>
        </pc:cxnChg>
        <pc:cxnChg chg="mod">
          <ac:chgData name="Müller, Kurt (SI BP S TSS TR)" userId="e7e82c7e-80c6-42a5-ab71-24588885b7fe" providerId="ADAL" clId="{9FEA2841-5B76-4EDB-8984-1B2D4375FBAF}" dt="2021-06-22T06:53:33.493" v="486" actId="165"/>
          <ac:cxnSpMkLst>
            <pc:docMk/>
            <pc:sldMk cId="218520005" sldId="2576"/>
            <ac:cxnSpMk id="104" creationId="{25B99AD1-AD33-4622-80E2-6B3358774FC7}"/>
          </ac:cxnSpMkLst>
        </pc:cxnChg>
        <pc:cxnChg chg="add mod">
          <ac:chgData name="Müller, Kurt (SI BP S TSS TR)" userId="e7e82c7e-80c6-42a5-ab71-24588885b7fe" providerId="ADAL" clId="{9FEA2841-5B76-4EDB-8984-1B2D4375FBAF}" dt="2021-06-22T06:53:52.068" v="501" actId="1038"/>
          <ac:cxnSpMkLst>
            <pc:docMk/>
            <pc:sldMk cId="218520005" sldId="2576"/>
            <ac:cxnSpMk id="105" creationId="{08A4291E-B24E-4B41-BFFB-135E11C72648}"/>
          </ac:cxnSpMkLst>
        </pc:cxnChg>
        <pc:cxnChg chg="add mod">
          <ac:chgData name="Müller, Kurt (SI BP S TSS TR)" userId="e7e82c7e-80c6-42a5-ab71-24588885b7fe" providerId="ADAL" clId="{9FEA2841-5B76-4EDB-8984-1B2D4375FBAF}" dt="2021-06-22T06:53:52.068" v="501" actId="1038"/>
          <ac:cxnSpMkLst>
            <pc:docMk/>
            <pc:sldMk cId="218520005" sldId="2576"/>
            <ac:cxnSpMk id="106" creationId="{40CEDD4E-A936-446B-923E-9934A266E7E6}"/>
          </ac:cxnSpMkLst>
        </pc:cxnChg>
        <pc:cxnChg chg="add mod topLvl">
          <ac:chgData name="Müller, Kurt (SI BP S TSS TR)" userId="e7e82c7e-80c6-42a5-ab71-24588885b7fe" providerId="ADAL" clId="{9FEA2841-5B76-4EDB-8984-1B2D4375FBAF}" dt="2021-06-22T06:54:26.854" v="509" actId="164"/>
          <ac:cxnSpMkLst>
            <pc:docMk/>
            <pc:sldMk cId="218520005" sldId="2576"/>
            <ac:cxnSpMk id="107" creationId="{FA5A95D5-14C8-456A-B5BE-59DAF268A9BA}"/>
          </ac:cxnSpMkLst>
        </pc:cxnChg>
        <pc:cxnChg chg="add mod">
          <ac:chgData name="Müller, Kurt (SI BP S TSS TR)" userId="e7e82c7e-80c6-42a5-ab71-24588885b7fe" providerId="ADAL" clId="{9FEA2841-5B76-4EDB-8984-1B2D4375FBAF}" dt="2021-06-23T10:45:44.511" v="765" actId="1076"/>
          <ac:cxnSpMkLst>
            <pc:docMk/>
            <pc:sldMk cId="218520005" sldId="2576"/>
            <ac:cxnSpMk id="112" creationId="{3B5DB2A6-A4F6-41B5-93D5-D339C358EEFC}"/>
          </ac:cxnSpMkLst>
        </pc:cxnChg>
        <pc:cxnChg chg="add mod">
          <ac:chgData name="Müller, Kurt (SI BP S TSS TR)" userId="e7e82c7e-80c6-42a5-ab71-24588885b7fe" providerId="ADAL" clId="{9FEA2841-5B76-4EDB-8984-1B2D4375FBAF}" dt="2021-06-23T10:45:44.511" v="765" actId="1076"/>
          <ac:cxnSpMkLst>
            <pc:docMk/>
            <pc:sldMk cId="218520005" sldId="2576"/>
            <ac:cxnSpMk id="115" creationId="{324D32CF-9913-4CC5-A672-D92FEDAA6B7B}"/>
          </ac:cxnSpMkLst>
        </pc:cxnChg>
        <pc:cxnChg chg="add mod">
          <ac:chgData name="Müller, Kurt (SI BP S TSS TR)" userId="e7e82c7e-80c6-42a5-ab71-24588885b7fe" providerId="ADAL" clId="{9FEA2841-5B76-4EDB-8984-1B2D4375FBAF}" dt="2021-06-22T08:50:09.742" v="600" actId="1076"/>
          <ac:cxnSpMkLst>
            <pc:docMk/>
            <pc:sldMk cId="218520005" sldId="2576"/>
            <ac:cxnSpMk id="122" creationId="{C3086CB0-065E-48E4-B87A-2BE477F02150}"/>
          </ac:cxnSpMkLst>
        </pc:cxnChg>
        <pc:cxnChg chg="del mod">
          <ac:chgData name="Müller, Kurt (SI BP S TSS TR)" userId="e7e82c7e-80c6-42a5-ab71-24588885b7fe" providerId="ADAL" clId="{9FEA2841-5B76-4EDB-8984-1B2D4375FBAF}" dt="2021-06-22T06:50:13.896" v="452" actId="478"/>
          <ac:cxnSpMkLst>
            <pc:docMk/>
            <pc:sldMk cId="218520005" sldId="2576"/>
            <ac:cxnSpMk id="126" creationId="{8631D12C-AAD5-4D01-8B44-D92D77613E73}"/>
          </ac:cxnSpMkLst>
        </pc:cxnChg>
        <pc:cxnChg chg="del mod">
          <ac:chgData name="Müller, Kurt (SI BP S TSS TR)" userId="e7e82c7e-80c6-42a5-ab71-24588885b7fe" providerId="ADAL" clId="{9FEA2841-5B76-4EDB-8984-1B2D4375FBAF}" dt="2021-06-22T06:50:15.689" v="453" actId="478"/>
          <ac:cxnSpMkLst>
            <pc:docMk/>
            <pc:sldMk cId="218520005" sldId="2576"/>
            <ac:cxnSpMk id="128" creationId="{187DE3CE-72E8-428C-B2B0-E738043F13D4}"/>
          </ac:cxnSpMkLst>
        </pc:cxnChg>
        <pc:cxnChg chg="add mod">
          <ac:chgData name="Müller, Kurt (SI BP S TSS TR)" userId="e7e82c7e-80c6-42a5-ab71-24588885b7fe" providerId="ADAL" clId="{9FEA2841-5B76-4EDB-8984-1B2D4375FBAF}" dt="2021-06-22T08:50:09.742" v="600" actId="1076"/>
          <ac:cxnSpMkLst>
            <pc:docMk/>
            <pc:sldMk cId="218520005" sldId="2576"/>
            <ac:cxnSpMk id="132" creationId="{2998C113-5DC4-4F08-81FC-480AF9B2913A}"/>
          </ac:cxnSpMkLst>
        </pc:cxnChg>
        <pc:cxnChg chg="mod">
          <ac:chgData name="Müller, Kurt (SI BP S TSS TR)" userId="e7e82c7e-80c6-42a5-ab71-24588885b7fe" providerId="ADAL" clId="{9FEA2841-5B76-4EDB-8984-1B2D4375FBAF}" dt="2021-06-22T06:55:10.205" v="518" actId="1076"/>
          <ac:cxnSpMkLst>
            <pc:docMk/>
            <pc:sldMk cId="218520005" sldId="2576"/>
            <ac:cxnSpMk id="141" creationId="{1002319D-AB75-4C3F-ACC9-8534AFF40BCB}"/>
          </ac:cxnSpMkLst>
        </pc:cxnChg>
        <pc:cxnChg chg="mod">
          <ac:chgData name="Müller, Kurt (SI BP S TSS TR)" userId="e7e82c7e-80c6-42a5-ab71-24588885b7fe" providerId="ADAL" clId="{9FEA2841-5B76-4EDB-8984-1B2D4375FBAF}" dt="2021-06-22T06:55:10.205" v="518" actId="1076"/>
          <ac:cxnSpMkLst>
            <pc:docMk/>
            <pc:sldMk cId="218520005" sldId="2576"/>
            <ac:cxnSpMk id="142" creationId="{DFC8259C-5A98-4430-A37A-E0DA1F1EA8B7}"/>
          </ac:cxnSpMkLst>
        </pc:cxnChg>
        <pc:cxnChg chg="add del mod">
          <ac:chgData name="Müller, Kurt (SI BP S TSS TR)" userId="e7e82c7e-80c6-42a5-ab71-24588885b7fe" providerId="ADAL" clId="{9FEA2841-5B76-4EDB-8984-1B2D4375FBAF}" dt="2021-06-22T06:54:37.757" v="511" actId="478"/>
          <ac:cxnSpMkLst>
            <pc:docMk/>
            <pc:sldMk cId="218520005" sldId="2576"/>
            <ac:cxnSpMk id="143" creationId="{07962DC0-EF0A-4F63-8538-12C68832BA4C}"/>
          </ac:cxnSpMkLst>
        </pc:cxnChg>
        <pc:cxnChg chg="mod">
          <ac:chgData name="Müller, Kurt (SI BP S TSS TR)" userId="e7e82c7e-80c6-42a5-ab71-24588885b7fe" providerId="ADAL" clId="{9FEA2841-5B76-4EDB-8984-1B2D4375FBAF}" dt="2021-06-22T07:09:01.666" v="553" actId="1582"/>
          <ac:cxnSpMkLst>
            <pc:docMk/>
            <pc:sldMk cId="218520005" sldId="2576"/>
            <ac:cxnSpMk id="157" creationId="{CFD3BD33-112E-4897-8115-A4D5D69167B3}"/>
          </ac:cxnSpMkLst>
        </pc:cxnChg>
        <pc:cxnChg chg="add mod">
          <ac:chgData name="Müller, Kurt (SI BP S TSS TR)" userId="e7e82c7e-80c6-42a5-ab71-24588885b7fe" providerId="ADAL" clId="{9FEA2841-5B76-4EDB-8984-1B2D4375FBAF}" dt="2021-06-22T08:50:09.742" v="600" actId="1076"/>
          <ac:cxnSpMkLst>
            <pc:docMk/>
            <pc:sldMk cId="218520005" sldId="2576"/>
            <ac:cxnSpMk id="165" creationId="{1F45ED20-E096-493E-9D0F-779043EDFCA7}"/>
          </ac:cxnSpMkLst>
        </pc:cxnChg>
        <pc:cxnChg chg="add mod">
          <ac:chgData name="Müller, Kurt (SI BP S TSS TR)" userId="e7e82c7e-80c6-42a5-ab71-24588885b7fe" providerId="ADAL" clId="{9FEA2841-5B76-4EDB-8984-1B2D4375FBAF}" dt="2021-06-22T08:50:09.742" v="600" actId="1076"/>
          <ac:cxnSpMkLst>
            <pc:docMk/>
            <pc:sldMk cId="218520005" sldId="2576"/>
            <ac:cxnSpMk id="168" creationId="{93B3406C-91EB-45F5-B154-11DDA4E55F5E}"/>
          </ac:cxnSpMkLst>
        </pc:cxnChg>
        <pc:cxnChg chg="add mod">
          <ac:chgData name="Müller, Kurt (SI BP S TSS TR)" userId="e7e82c7e-80c6-42a5-ab71-24588885b7fe" providerId="ADAL" clId="{9FEA2841-5B76-4EDB-8984-1B2D4375FBAF}" dt="2021-06-22T08:50:09.742" v="600" actId="1076"/>
          <ac:cxnSpMkLst>
            <pc:docMk/>
            <pc:sldMk cId="218520005" sldId="2576"/>
            <ac:cxnSpMk id="169" creationId="{75EF1636-16D8-4767-ACFE-A1710990DF42}"/>
          </ac:cxnSpMkLst>
        </pc:cxnChg>
        <pc:cxnChg chg="mod">
          <ac:chgData name="Müller, Kurt (SI BP S TSS TR)" userId="e7e82c7e-80c6-42a5-ab71-24588885b7fe" providerId="ADAL" clId="{9FEA2841-5B76-4EDB-8984-1B2D4375FBAF}" dt="2021-06-22T08:47:13.372" v="569" actId="571"/>
          <ac:cxnSpMkLst>
            <pc:docMk/>
            <pc:sldMk cId="218520005" sldId="2576"/>
            <ac:cxnSpMk id="171" creationId="{1EF0704A-ED51-4854-ACA0-87D661D5AB08}"/>
          </ac:cxnSpMkLst>
        </pc:cxnChg>
        <pc:cxnChg chg="add mod">
          <ac:chgData name="Müller, Kurt (SI BP S TSS TR)" userId="e7e82c7e-80c6-42a5-ab71-24588885b7fe" providerId="ADAL" clId="{9FEA2841-5B76-4EDB-8984-1B2D4375FBAF}" dt="2021-06-22T08:50:09.742" v="600" actId="1076"/>
          <ac:cxnSpMkLst>
            <pc:docMk/>
            <pc:sldMk cId="218520005" sldId="2576"/>
            <ac:cxnSpMk id="176" creationId="{7900CF1E-DE9C-45F4-9C20-93C7623C8BA9}"/>
          </ac:cxnSpMkLst>
        </pc:cxnChg>
        <pc:cxnChg chg="add mod">
          <ac:chgData name="Müller, Kurt (SI BP S TSS TR)" userId="e7e82c7e-80c6-42a5-ab71-24588885b7fe" providerId="ADAL" clId="{9FEA2841-5B76-4EDB-8984-1B2D4375FBAF}" dt="2021-06-22T08:50:09.742" v="600" actId="1076"/>
          <ac:cxnSpMkLst>
            <pc:docMk/>
            <pc:sldMk cId="218520005" sldId="2576"/>
            <ac:cxnSpMk id="180" creationId="{33A81750-8257-451E-8B49-4236E678C0D1}"/>
          </ac:cxnSpMkLst>
        </pc:cxnChg>
        <pc:cxnChg chg="mod">
          <ac:chgData name="Müller, Kurt (SI BP S TSS TR)" userId="e7e82c7e-80c6-42a5-ab71-24588885b7fe" providerId="ADAL" clId="{9FEA2841-5B76-4EDB-8984-1B2D4375FBAF}" dt="2021-06-22T08:49:44.922" v="597" actId="688"/>
          <ac:cxnSpMkLst>
            <pc:docMk/>
            <pc:sldMk cId="218520005" sldId="2576"/>
            <ac:cxnSpMk id="183" creationId="{5C29F3D5-FD5A-4A01-ADA7-2F4057003876}"/>
          </ac:cxnSpMkLst>
        </pc:cxnChg>
        <pc:cxnChg chg="mod">
          <ac:chgData name="Müller, Kurt (SI BP S TSS TR)" userId="e7e82c7e-80c6-42a5-ab71-24588885b7fe" providerId="ADAL" clId="{9FEA2841-5B76-4EDB-8984-1B2D4375FBAF}" dt="2021-06-22T08:49:44.922" v="597" actId="688"/>
          <ac:cxnSpMkLst>
            <pc:docMk/>
            <pc:sldMk cId="218520005" sldId="2576"/>
            <ac:cxnSpMk id="184" creationId="{2824ED25-AF9B-470D-AF3D-0BF359CC7156}"/>
          </ac:cxnSpMkLst>
        </pc:cxnChg>
        <pc:cxnChg chg="del mod topLvl">
          <ac:chgData name="Müller, Kurt (SI BP S TSS TR)" userId="e7e82c7e-80c6-42a5-ab71-24588885b7fe" providerId="ADAL" clId="{9FEA2841-5B76-4EDB-8984-1B2D4375FBAF}" dt="2021-06-22T08:57:22.911" v="705" actId="478"/>
          <ac:cxnSpMkLst>
            <pc:docMk/>
            <pc:sldMk cId="218520005" sldId="2576"/>
            <ac:cxnSpMk id="227" creationId="{BC899EFE-336F-4A24-AD72-359847668E4A}"/>
          </ac:cxnSpMkLst>
        </pc:cxnChg>
        <pc:cxnChg chg="del mod topLvl">
          <ac:chgData name="Müller, Kurt (SI BP S TSS TR)" userId="e7e82c7e-80c6-42a5-ab71-24588885b7fe" providerId="ADAL" clId="{9FEA2841-5B76-4EDB-8984-1B2D4375FBAF}" dt="2021-06-22T08:57:29.415" v="709" actId="478"/>
          <ac:cxnSpMkLst>
            <pc:docMk/>
            <pc:sldMk cId="218520005" sldId="2576"/>
            <ac:cxnSpMk id="228" creationId="{F096DEEB-FD72-4613-B466-A2336D3F230A}"/>
          </ac:cxnSpMkLst>
        </pc:cxnChg>
        <pc:cxnChg chg="del mod topLvl">
          <ac:chgData name="Müller, Kurt (SI BP S TSS TR)" userId="e7e82c7e-80c6-42a5-ab71-24588885b7fe" providerId="ADAL" clId="{9FEA2841-5B76-4EDB-8984-1B2D4375FBAF}" dt="2021-06-22T08:57:28.415" v="708" actId="478"/>
          <ac:cxnSpMkLst>
            <pc:docMk/>
            <pc:sldMk cId="218520005" sldId="2576"/>
            <ac:cxnSpMk id="229" creationId="{C565EA8A-5E1F-4624-A093-3F7FD3F48676}"/>
          </ac:cxnSpMkLst>
        </pc:cxnChg>
        <pc:cxnChg chg="del mod topLvl">
          <ac:chgData name="Müller, Kurt (SI BP S TSS TR)" userId="e7e82c7e-80c6-42a5-ab71-24588885b7fe" providerId="ADAL" clId="{9FEA2841-5B76-4EDB-8984-1B2D4375FBAF}" dt="2021-06-22T08:57:27.095" v="707" actId="478"/>
          <ac:cxnSpMkLst>
            <pc:docMk/>
            <pc:sldMk cId="218520005" sldId="2576"/>
            <ac:cxnSpMk id="230" creationId="{2DFE3B44-2545-42DF-A218-8E4B5456FD4F}"/>
          </ac:cxnSpMkLst>
        </pc:cxnChg>
        <pc:cxnChg chg="mod">
          <ac:chgData name="Müller, Kurt (SI BP S TSS TR)" userId="e7e82c7e-80c6-42a5-ab71-24588885b7fe" providerId="ADAL" clId="{9FEA2841-5B76-4EDB-8984-1B2D4375FBAF}" dt="2021-06-22T08:57:34.655" v="710" actId="1076"/>
          <ac:cxnSpMkLst>
            <pc:docMk/>
            <pc:sldMk cId="218520005" sldId="2576"/>
            <ac:cxnSpMk id="262" creationId="{788D03E7-5029-47D5-A707-D1F2D46E1261}"/>
          </ac:cxnSpMkLst>
        </pc:cxnChg>
        <pc:cxnChg chg="mod">
          <ac:chgData name="Müller, Kurt (SI BP S TSS TR)" userId="e7e82c7e-80c6-42a5-ab71-24588885b7fe" providerId="ADAL" clId="{9FEA2841-5B76-4EDB-8984-1B2D4375FBAF}" dt="2021-06-22T08:57:34.655" v="710" actId="1076"/>
          <ac:cxnSpMkLst>
            <pc:docMk/>
            <pc:sldMk cId="218520005" sldId="2576"/>
            <ac:cxnSpMk id="263" creationId="{C937AA1E-5ADD-4AB1-8802-78ACE98D0503}"/>
          </ac:cxnSpMkLst>
        </pc:cxnChg>
        <pc:cxnChg chg="add mod">
          <ac:chgData name="Müller, Kurt (SI BP S TSS TR)" userId="e7e82c7e-80c6-42a5-ab71-24588885b7fe" providerId="ADAL" clId="{9FEA2841-5B76-4EDB-8984-1B2D4375FBAF}" dt="2021-06-22T08:50:09.742" v="600" actId="1076"/>
          <ac:cxnSpMkLst>
            <pc:docMk/>
            <pc:sldMk cId="218520005" sldId="2576"/>
            <ac:cxnSpMk id="1041" creationId="{AA79F5A4-5718-4431-91A5-C5C964C25856}"/>
          </ac:cxnSpMkLst>
        </pc:cxnChg>
      </pc:sldChg>
      <pc:sldChg chg="modSp add del mod">
        <pc:chgData name="Müller, Kurt (SI BP S TSS TR)" userId="e7e82c7e-80c6-42a5-ab71-24588885b7fe" providerId="ADAL" clId="{9FEA2841-5B76-4EDB-8984-1B2D4375FBAF}" dt="2021-07-23T13:43:54.022" v="1787" actId="47"/>
        <pc:sldMkLst>
          <pc:docMk/>
          <pc:sldMk cId="1590403809" sldId="2577"/>
        </pc:sldMkLst>
        <pc:spChg chg="mod">
          <ac:chgData name="Müller, Kurt (SI BP S TSS TR)" userId="e7e82c7e-80c6-42a5-ab71-24588885b7fe" providerId="ADAL" clId="{9FEA2841-5B76-4EDB-8984-1B2D4375FBAF}" dt="2021-07-21T09:04:04.569" v="794" actId="20577"/>
          <ac:spMkLst>
            <pc:docMk/>
            <pc:sldMk cId="1590403809" sldId="2577"/>
            <ac:spMk id="4" creationId="{00000000-0000-0000-0000-000000000000}"/>
          </ac:spMkLst>
        </pc:spChg>
      </pc:sldChg>
      <pc:sldChg chg="addSp delSp modSp add mod">
        <pc:chgData name="Müller, Kurt (SI BP S TSS TR)" userId="e7e82c7e-80c6-42a5-ab71-24588885b7fe" providerId="ADAL" clId="{9FEA2841-5B76-4EDB-8984-1B2D4375FBAF}" dt="2021-07-23T13:45:54.461" v="1798" actId="478"/>
        <pc:sldMkLst>
          <pc:docMk/>
          <pc:sldMk cId="3458297983" sldId="2578"/>
        </pc:sldMkLst>
        <pc:spChg chg="del">
          <ac:chgData name="Müller, Kurt (SI BP S TSS TR)" userId="e7e82c7e-80c6-42a5-ab71-24588885b7fe" providerId="ADAL" clId="{9FEA2841-5B76-4EDB-8984-1B2D4375FBAF}" dt="2021-07-21T09:04:16.359" v="796" actId="478"/>
          <ac:spMkLst>
            <pc:docMk/>
            <pc:sldMk cId="3458297983" sldId="2578"/>
            <ac:spMk id="3" creationId="{50E17820-B62F-4719-80D9-FEC26EF1D72C}"/>
          </ac:spMkLst>
        </pc:spChg>
        <pc:spChg chg="del">
          <ac:chgData name="Müller, Kurt (SI BP S TSS TR)" userId="e7e82c7e-80c6-42a5-ab71-24588885b7fe" providerId="ADAL" clId="{9FEA2841-5B76-4EDB-8984-1B2D4375FBAF}" dt="2021-07-21T09:04:16.359" v="796" actId="478"/>
          <ac:spMkLst>
            <pc:docMk/>
            <pc:sldMk cId="3458297983" sldId="2578"/>
            <ac:spMk id="7" creationId="{B94CA8FE-2F2E-4469-8FD6-67794DA8077E}"/>
          </ac:spMkLst>
        </pc:spChg>
        <pc:spChg chg="del">
          <ac:chgData name="Müller, Kurt (SI BP S TSS TR)" userId="e7e82c7e-80c6-42a5-ab71-24588885b7fe" providerId="ADAL" clId="{9FEA2841-5B76-4EDB-8984-1B2D4375FBAF}" dt="2021-07-21T09:04:16.359" v="796" actId="478"/>
          <ac:spMkLst>
            <pc:docMk/>
            <pc:sldMk cId="3458297983" sldId="2578"/>
            <ac:spMk id="8" creationId="{9C053EA0-91CB-4D81-BB1C-4B1EE8548223}"/>
          </ac:spMkLst>
        </pc:spChg>
        <pc:spChg chg="add mod">
          <ac:chgData name="Müller, Kurt (SI BP S TSS TR)" userId="e7e82c7e-80c6-42a5-ab71-24588885b7fe" providerId="ADAL" clId="{9FEA2841-5B76-4EDB-8984-1B2D4375FBAF}" dt="2021-07-23T13:35:47.813" v="1627" actId="1076"/>
          <ac:spMkLst>
            <pc:docMk/>
            <pc:sldMk cId="3458297983" sldId="2578"/>
            <ac:spMk id="9" creationId="{724100CD-F240-40C0-958A-872E653D1F19}"/>
          </ac:spMkLst>
        </pc:spChg>
        <pc:spChg chg="del">
          <ac:chgData name="Müller, Kurt (SI BP S TSS TR)" userId="e7e82c7e-80c6-42a5-ab71-24588885b7fe" providerId="ADAL" clId="{9FEA2841-5B76-4EDB-8984-1B2D4375FBAF}" dt="2021-07-21T09:04:16.359" v="796" actId="478"/>
          <ac:spMkLst>
            <pc:docMk/>
            <pc:sldMk cId="3458297983" sldId="2578"/>
            <ac:spMk id="12" creationId="{44283284-1857-4526-8EEF-31B7C5036D7D}"/>
          </ac:spMkLst>
        </pc:spChg>
        <pc:spChg chg="del">
          <ac:chgData name="Müller, Kurt (SI BP S TSS TR)" userId="e7e82c7e-80c6-42a5-ab71-24588885b7fe" providerId="ADAL" clId="{9FEA2841-5B76-4EDB-8984-1B2D4375FBAF}" dt="2021-07-21T09:04:16.359" v="796" actId="478"/>
          <ac:spMkLst>
            <pc:docMk/>
            <pc:sldMk cId="3458297983" sldId="2578"/>
            <ac:spMk id="13" creationId="{70F7F107-4C83-4540-8CCB-1BEF909F4999}"/>
          </ac:spMkLst>
        </pc:spChg>
        <pc:spChg chg="add mod">
          <ac:chgData name="Müller, Kurt (SI BP S TSS TR)" userId="e7e82c7e-80c6-42a5-ab71-24588885b7fe" providerId="ADAL" clId="{9FEA2841-5B76-4EDB-8984-1B2D4375FBAF}" dt="2021-07-23T13:35:50.868" v="1628" actId="1076"/>
          <ac:spMkLst>
            <pc:docMk/>
            <pc:sldMk cId="3458297983" sldId="2578"/>
            <ac:spMk id="14" creationId="{0D9B1394-4D08-4EC4-8780-D2AE02FDA82A}"/>
          </ac:spMkLst>
        </pc:spChg>
        <pc:spChg chg="add mod">
          <ac:chgData name="Müller, Kurt (SI BP S TSS TR)" userId="e7e82c7e-80c6-42a5-ab71-24588885b7fe" providerId="ADAL" clId="{9FEA2841-5B76-4EDB-8984-1B2D4375FBAF}" dt="2021-07-23T13:35:38.421" v="1625" actId="1076"/>
          <ac:spMkLst>
            <pc:docMk/>
            <pc:sldMk cId="3458297983" sldId="2578"/>
            <ac:spMk id="19" creationId="{74BFB488-5E88-4085-ADBF-FBB915373B09}"/>
          </ac:spMkLst>
        </pc:spChg>
        <pc:spChg chg="add mod">
          <ac:chgData name="Müller, Kurt (SI BP S TSS TR)" userId="e7e82c7e-80c6-42a5-ab71-24588885b7fe" providerId="ADAL" clId="{9FEA2841-5B76-4EDB-8984-1B2D4375FBAF}" dt="2021-07-23T13:35:38.421" v="1625" actId="1076"/>
          <ac:spMkLst>
            <pc:docMk/>
            <pc:sldMk cId="3458297983" sldId="2578"/>
            <ac:spMk id="20" creationId="{18D2CBED-5988-48BA-82FF-6AE124FB8EC8}"/>
          </ac:spMkLst>
        </pc:spChg>
        <pc:spChg chg="add mod">
          <ac:chgData name="Müller, Kurt (SI BP S TSS TR)" userId="e7e82c7e-80c6-42a5-ab71-24588885b7fe" providerId="ADAL" clId="{9FEA2841-5B76-4EDB-8984-1B2D4375FBAF}" dt="2021-07-23T13:35:38.421" v="1625" actId="1076"/>
          <ac:spMkLst>
            <pc:docMk/>
            <pc:sldMk cId="3458297983" sldId="2578"/>
            <ac:spMk id="21" creationId="{D2464190-50B1-4937-A527-03F6EBD7E14A}"/>
          </ac:spMkLst>
        </pc:spChg>
        <pc:spChg chg="add mod">
          <ac:chgData name="Müller, Kurt (SI BP S TSS TR)" userId="e7e82c7e-80c6-42a5-ab71-24588885b7fe" providerId="ADAL" clId="{9FEA2841-5B76-4EDB-8984-1B2D4375FBAF}" dt="2021-07-23T13:35:38.421" v="1625" actId="1076"/>
          <ac:spMkLst>
            <pc:docMk/>
            <pc:sldMk cId="3458297983" sldId="2578"/>
            <ac:spMk id="22" creationId="{E34A14AF-CFC5-4CB3-B026-DF5BB01F37E1}"/>
          </ac:spMkLst>
        </pc:spChg>
        <pc:spChg chg="add mod">
          <ac:chgData name="Müller, Kurt (SI BP S TSS TR)" userId="e7e82c7e-80c6-42a5-ab71-24588885b7fe" providerId="ADAL" clId="{9FEA2841-5B76-4EDB-8984-1B2D4375FBAF}" dt="2021-07-23T13:36:08.815" v="1630" actId="120"/>
          <ac:spMkLst>
            <pc:docMk/>
            <pc:sldMk cId="3458297983" sldId="2578"/>
            <ac:spMk id="23" creationId="{2C7CC530-573A-410F-8BBD-B26E057A10C5}"/>
          </ac:spMkLst>
        </pc:spChg>
        <pc:spChg chg="add mod">
          <ac:chgData name="Müller, Kurt (SI BP S TSS TR)" userId="e7e82c7e-80c6-42a5-ab71-24588885b7fe" providerId="ADAL" clId="{9FEA2841-5B76-4EDB-8984-1B2D4375FBAF}" dt="2021-07-23T13:35:38.421" v="1625" actId="1076"/>
          <ac:spMkLst>
            <pc:docMk/>
            <pc:sldMk cId="3458297983" sldId="2578"/>
            <ac:spMk id="24" creationId="{0C47F359-4353-4798-A4A5-2B863C769D48}"/>
          </ac:spMkLst>
        </pc:spChg>
        <pc:spChg chg="add del mod">
          <ac:chgData name="Müller, Kurt (SI BP S TSS TR)" userId="e7e82c7e-80c6-42a5-ab71-24588885b7fe" providerId="ADAL" clId="{9FEA2841-5B76-4EDB-8984-1B2D4375FBAF}" dt="2021-07-23T13:45:32.729" v="1789"/>
          <ac:spMkLst>
            <pc:docMk/>
            <pc:sldMk cId="3458297983" sldId="2578"/>
            <ac:spMk id="25" creationId="{565CD530-1CDC-4012-ABCD-4F091B3FF183}"/>
          </ac:spMkLst>
        </pc:spChg>
        <pc:spChg chg="del">
          <ac:chgData name="Müller, Kurt (SI BP S TSS TR)" userId="e7e82c7e-80c6-42a5-ab71-24588885b7fe" providerId="ADAL" clId="{9FEA2841-5B76-4EDB-8984-1B2D4375FBAF}" dt="2021-07-21T09:04:16.359" v="796" actId="478"/>
          <ac:spMkLst>
            <pc:docMk/>
            <pc:sldMk cId="3458297983" sldId="2578"/>
            <ac:spMk id="26" creationId="{58E8DA3B-38E2-4BB5-B434-86F6D3C96548}"/>
          </ac:spMkLst>
        </pc:spChg>
        <pc:spChg chg="mod">
          <ac:chgData name="Müller, Kurt (SI BP S TSS TR)" userId="e7e82c7e-80c6-42a5-ab71-24588885b7fe" providerId="ADAL" clId="{9FEA2841-5B76-4EDB-8984-1B2D4375FBAF}" dt="2021-07-23T13:45:29.825" v="1788"/>
          <ac:spMkLst>
            <pc:docMk/>
            <pc:sldMk cId="3458297983" sldId="2578"/>
            <ac:spMk id="27" creationId="{03C307F1-6C76-4B4B-828F-74E9156D0F36}"/>
          </ac:spMkLst>
        </pc:spChg>
        <pc:spChg chg="del">
          <ac:chgData name="Müller, Kurt (SI BP S TSS TR)" userId="e7e82c7e-80c6-42a5-ab71-24588885b7fe" providerId="ADAL" clId="{9FEA2841-5B76-4EDB-8984-1B2D4375FBAF}" dt="2021-07-21T09:04:16.359" v="796" actId="478"/>
          <ac:spMkLst>
            <pc:docMk/>
            <pc:sldMk cId="3458297983" sldId="2578"/>
            <ac:spMk id="28" creationId="{C15F08BF-97D3-4262-A408-F010451A09E9}"/>
          </ac:spMkLst>
        </pc:spChg>
        <pc:spChg chg="del">
          <ac:chgData name="Müller, Kurt (SI BP S TSS TR)" userId="e7e82c7e-80c6-42a5-ab71-24588885b7fe" providerId="ADAL" clId="{9FEA2841-5B76-4EDB-8984-1B2D4375FBAF}" dt="2021-07-21T09:04:16.359" v="796" actId="478"/>
          <ac:spMkLst>
            <pc:docMk/>
            <pc:sldMk cId="3458297983" sldId="2578"/>
            <ac:spMk id="29" creationId="{6C7BC591-A8E2-4AAB-927A-2E5D4332B23C}"/>
          </ac:spMkLst>
        </pc:spChg>
        <pc:spChg chg="mod">
          <ac:chgData name="Müller, Kurt (SI BP S TSS TR)" userId="e7e82c7e-80c6-42a5-ab71-24588885b7fe" providerId="ADAL" clId="{9FEA2841-5B76-4EDB-8984-1B2D4375FBAF}" dt="2021-07-23T13:45:29.825" v="1788"/>
          <ac:spMkLst>
            <pc:docMk/>
            <pc:sldMk cId="3458297983" sldId="2578"/>
            <ac:spMk id="29" creationId="{7978F732-140E-42F7-A68C-8815467C278F}"/>
          </ac:spMkLst>
        </pc:spChg>
        <pc:spChg chg="del">
          <ac:chgData name="Müller, Kurt (SI BP S TSS TR)" userId="e7e82c7e-80c6-42a5-ab71-24588885b7fe" providerId="ADAL" clId="{9FEA2841-5B76-4EDB-8984-1B2D4375FBAF}" dt="2021-07-21T09:04:16.359" v="796" actId="478"/>
          <ac:spMkLst>
            <pc:docMk/>
            <pc:sldMk cId="3458297983" sldId="2578"/>
            <ac:spMk id="30" creationId="{D05DD01A-836B-436F-8FBE-E87C1F97F3EA}"/>
          </ac:spMkLst>
        </pc:spChg>
        <pc:spChg chg="add del mod">
          <ac:chgData name="Müller, Kurt (SI BP S TSS TR)" userId="e7e82c7e-80c6-42a5-ab71-24588885b7fe" providerId="ADAL" clId="{9FEA2841-5B76-4EDB-8984-1B2D4375FBAF}" dt="2021-07-23T13:45:54.461" v="1798" actId="478"/>
          <ac:spMkLst>
            <pc:docMk/>
            <pc:sldMk cId="3458297983" sldId="2578"/>
            <ac:spMk id="31" creationId="{343BAE56-36CF-4242-8D54-B31BFC61D0EA}"/>
          </ac:spMkLst>
        </pc:spChg>
        <pc:spChg chg="mod">
          <ac:chgData name="Müller, Kurt (SI BP S TSS TR)" userId="e7e82c7e-80c6-42a5-ab71-24588885b7fe" providerId="ADAL" clId="{9FEA2841-5B76-4EDB-8984-1B2D4375FBAF}" dt="2021-07-23T13:45:51.941" v="1797" actId="1076"/>
          <ac:spMkLst>
            <pc:docMk/>
            <pc:sldMk cId="3458297983" sldId="2578"/>
            <ac:spMk id="33" creationId="{872D2BAE-3663-434E-895E-88D5A2ECC195}"/>
          </ac:spMkLst>
        </pc:spChg>
        <pc:spChg chg="mod">
          <ac:chgData name="Müller, Kurt (SI BP S TSS TR)" userId="e7e82c7e-80c6-42a5-ab71-24588885b7fe" providerId="ADAL" clId="{9FEA2841-5B76-4EDB-8984-1B2D4375FBAF}" dt="2021-07-23T13:45:51.941" v="1797" actId="1076"/>
          <ac:spMkLst>
            <pc:docMk/>
            <pc:sldMk cId="3458297983" sldId="2578"/>
            <ac:spMk id="35" creationId="{AFC4402C-3FBC-4D31-8008-CEB4A9F7A222}"/>
          </ac:spMkLst>
        </pc:spChg>
        <pc:spChg chg="add mod">
          <ac:chgData name="Müller, Kurt (SI BP S TSS TR)" userId="e7e82c7e-80c6-42a5-ab71-24588885b7fe" providerId="ADAL" clId="{9FEA2841-5B76-4EDB-8984-1B2D4375FBAF}" dt="2021-07-21T09:06:07.971" v="857" actId="1035"/>
          <ac:spMkLst>
            <pc:docMk/>
            <pc:sldMk cId="3458297983" sldId="2578"/>
            <ac:spMk id="43" creationId="{A9201726-681C-4CAB-80AE-DA0512004A3B}"/>
          </ac:spMkLst>
        </pc:spChg>
        <pc:spChg chg="del">
          <ac:chgData name="Müller, Kurt (SI BP S TSS TR)" userId="e7e82c7e-80c6-42a5-ab71-24588885b7fe" providerId="ADAL" clId="{9FEA2841-5B76-4EDB-8984-1B2D4375FBAF}" dt="2021-07-21T09:04:18.363" v="797" actId="478"/>
          <ac:spMkLst>
            <pc:docMk/>
            <pc:sldMk cId="3458297983" sldId="2578"/>
            <ac:spMk id="45" creationId="{D9B58BD3-109D-46CC-956F-4EC54431496F}"/>
          </ac:spMkLst>
        </pc:spChg>
        <pc:spChg chg="add mod">
          <ac:chgData name="Müller, Kurt (SI BP S TSS TR)" userId="e7e82c7e-80c6-42a5-ab71-24588885b7fe" providerId="ADAL" clId="{9FEA2841-5B76-4EDB-8984-1B2D4375FBAF}" dt="2021-07-23T13:35:33.670" v="1624" actId="1076"/>
          <ac:spMkLst>
            <pc:docMk/>
            <pc:sldMk cId="3458297983" sldId="2578"/>
            <ac:spMk id="46" creationId="{6F14EF66-619F-4A2A-B9ED-D673960D7B57}"/>
          </ac:spMkLst>
        </pc:spChg>
        <pc:spChg chg="del">
          <ac:chgData name="Müller, Kurt (SI BP S TSS TR)" userId="e7e82c7e-80c6-42a5-ab71-24588885b7fe" providerId="ADAL" clId="{9FEA2841-5B76-4EDB-8984-1B2D4375FBAF}" dt="2021-07-21T09:04:16.359" v="796" actId="478"/>
          <ac:spMkLst>
            <pc:docMk/>
            <pc:sldMk cId="3458297983" sldId="2578"/>
            <ac:spMk id="48" creationId="{35F12D62-5594-4DE0-95E6-B853B96CF34A}"/>
          </ac:spMkLst>
        </pc:spChg>
        <pc:spChg chg="mod">
          <ac:chgData name="Müller, Kurt (SI BP S TSS TR)" userId="e7e82c7e-80c6-42a5-ab71-24588885b7fe" providerId="ADAL" clId="{9FEA2841-5B76-4EDB-8984-1B2D4375FBAF}" dt="2021-07-23T13:45:48.341" v="1796" actId="20577"/>
          <ac:spMkLst>
            <pc:docMk/>
            <pc:sldMk cId="3458297983" sldId="2578"/>
            <ac:spMk id="78" creationId="{4DD5E6A6-4EC4-451D-BF52-ECC3BB5942CE}"/>
          </ac:spMkLst>
        </pc:spChg>
        <pc:spChg chg="del mod">
          <ac:chgData name="Müller, Kurt (SI BP S TSS TR)" userId="e7e82c7e-80c6-42a5-ab71-24588885b7fe" providerId="ADAL" clId="{9FEA2841-5B76-4EDB-8984-1B2D4375FBAF}" dt="2021-07-21T09:05:45.595" v="825" actId="478"/>
          <ac:spMkLst>
            <pc:docMk/>
            <pc:sldMk cId="3458297983" sldId="2578"/>
            <ac:spMk id="80" creationId="{BCCBD6DD-DD54-4944-856D-4CF9046EC303}"/>
          </ac:spMkLst>
        </pc:spChg>
        <pc:grpChg chg="add del mod">
          <ac:chgData name="Müller, Kurt (SI BP S TSS TR)" userId="e7e82c7e-80c6-42a5-ab71-24588885b7fe" providerId="ADAL" clId="{9FEA2841-5B76-4EDB-8984-1B2D4375FBAF}" dt="2021-07-23T13:45:32.729" v="1789"/>
          <ac:grpSpMkLst>
            <pc:docMk/>
            <pc:sldMk cId="3458297983" sldId="2578"/>
            <ac:grpSpMk id="26" creationId="{A7F74E8C-59C9-46CE-8D2F-B126908CF2B8}"/>
          </ac:grpSpMkLst>
        </pc:grpChg>
        <pc:grpChg chg="mod">
          <ac:chgData name="Müller, Kurt (SI BP S TSS TR)" userId="e7e82c7e-80c6-42a5-ab71-24588885b7fe" providerId="ADAL" clId="{9FEA2841-5B76-4EDB-8984-1B2D4375FBAF}" dt="2021-07-23T13:45:29.825" v="1788"/>
          <ac:grpSpMkLst>
            <pc:docMk/>
            <pc:sldMk cId="3458297983" sldId="2578"/>
            <ac:grpSpMk id="28" creationId="{A8DC479B-432D-4379-83A8-5AA3F6171F1D}"/>
          </ac:grpSpMkLst>
        </pc:grpChg>
        <pc:grpChg chg="add mod">
          <ac:chgData name="Müller, Kurt (SI BP S TSS TR)" userId="e7e82c7e-80c6-42a5-ab71-24588885b7fe" providerId="ADAL" clId="{9FEA2841-5B76-4EDB-8984-1B2D4375FBAF}" dt="2021-07-23T13:45:51.941" v="1797" actId="1076"/>
          <ac:grpSpMkLst>
            <pc:docMk/>
            <pc:sldMk cId="3458297983" sldId="2578"/>
            <ac:grpSpMk id="32" creationId="{3EC699ED-C20E-4C85-8B47-EDFA46C030F6}"/>
          </ac:grpSpMkLst>
        </pc:grpChg>
        <pc:grpChg chg="mod">
          <ac:chgData name="Müller, Kurt (SI BP S TSS TR)" userId="e7e82c7e-80c6-42a5-ab71-24588885b7fe" providerId="ADAL" clId="{9FEA2841-5B76-4EDB-8984-1B2D4375FBAF}" dt="2021-07-23T13:45:51.941" v="1797" actId="1076"/>
          <ac:grpSpMkLst>
            <pc:docMk/>
            <pc:sldMk cId="3458297983" sldId="2578"/>
            <ac:grpSpMk id="34" creationId="{135B9FF4-C33D-4709-B90D-0EF56D52C048}"/>
          </ac:grpSpMkLst>
        </pc:grpChg>
        <pc:grpChg chg="del">
          <ac:chgData name="Müller, Kurt (SI BP S TSS TR)" userId="e7e82c7e-80c6-42a5-ab71-24588885b7fe" providerId="ADAL" clId="{9FEA2841-5B76-4EDB-8984-1B2D4375FBAF}" dt="2021-07-21T09:04:16.359" v="796" actId="478"/>
          <ac:grpSpMkLst>
            <pc:docMk/>
            <pc:sldMk cId="3458297983" sldId="2578"/>
            <ac:grpSpMk id="42" creationId="{F096EAFC-BAC6-421E-BE7E-79F733868E46}"/>
          </ac:grpSpMkLst>
        </pc:grpChg>
        <pc:grpChg chg="del">
          <ac:chgData name="Müller, Kurt (SI BP S TSS TR)" userId="e7e82c7e-80c6-42a5-ab71-24588885b7fe" providerId="ADAL" clId="{9FEA2841-5B76-4EDB-8984-1B2D4375FBAF}" dt="2021-07-21T09:04:16.359" v="796" actId="478"/>
          <ac:grpSpMkLst>
            <pc:docMk/>
            <pc:sldMk cId="3458297983" sldId="2578"/>
            <ac:grpSpMk id="59" creationId="{2AA90227-B4AC-4446-8F1B-D0556084F54A}"/>
          </ac:grpSpMkLst>
        </pc:grpChg>
        <pc:picChg chg="add mod">
          <ac:chgData name="Müller, Kurt (SI BP S TSS TR)" userId="e7e82c7e-80c6-42a5-ab71-24588885b7fe" providerId="ADAL" clId="{9FEA2841-5B76-4EDB-8984-1B2D4375FBAF}" dt="2021-07-23T13:35:38.421" v="1625" actId="1076"/>
          <ac:picMkLst>
            <pc:docMk/>
            <pc:sldMk cId="3458297983" sldId="2578"/>
            <ac:picMk id="6" creationId="{05D5ECB4-DA57-4CB0-AA3C-657B88F684CE}"/>
          </ac:picMkLst>
        </pc:picChg>
        <pc:picChg chg="add mod">
          <ac:chgData name="Müller, Kurt (SI BP S TSS TR)" userId="e7e82c7e-80c6-42a5-ab71-24588885b7fe" providerId="ADAL" clId="{9FEA2841-5B76-4EDB-8984-1B2D4375FBAF}" dt="2021-07-23T13:35:38.421" v="1625" actId="1076"/>
          <ac:picMkLst>
            <pc:docMk/>
            <pc:sldMk cId="3458297983" sldId="2578"/>
            <ac:picMk id="7" creationId="{33C1B442-0836-40EF-A24D-579185C090CC}"/>
          </ac:picMkLst>
        </pc:picChg>
        <pc:picChg chg="add mod">
          <ac:chgData name="Müller, Kurt (SI BP S TSS TR)" userId="e7e82c7e-80c6-42a5-ab71-24588885b7fe" providerId="ADAL" clId="{9FEA2841-5B76-4EDB-8984-1B2D4375FBAF}" dt="2021-07-23T13:35:38.421" v="1625" actId="1076"/>
          <ac:picMkLst>
            <pc:docMk/>
            <pc:sldMk cId="3458297983" sldId="2578"/>
            <ac:picMk id="8" creationId="{798C9873-1BD8-4DE5-823C-E24991B1894F}"/>
          </ac:picMkLst>
        </pc:picChg>
        <pc:picChg chg="add mod">
          <ac:chgData name="Müller, Kurt (SI BP S TSS TR)" userId="e7e82c7e-80c6-42a5-ab71-24588885b7fe" providerId="ADAL" clId="{9FEA2841-5B76-4EDB-8984-1B2D4375FBAF}" dt="2021-07-23T13:35:59.300" v="1629" actId="1076"/>
          <ac:picMkLst>
            <pc:docMk/>
            <pc:sldMk cId="3458297983" sldId="2578"/>
            <ac:picMk id="10" creationId="{6461F8AC-2DBE-4BCC-AE20-6318E5658ED3}"/>
          </ac:picMkLst>
        </pc:picChg>
        <pc:picChg chg="add mod">
          <ac:chgData name="Müller, Kurt (SI BP S TSS TR)" userId="e7e82c7e-80c6-42a5-ab71-24588885b7fe" providerId="ADAL" clId="{9FEA2841-5B76-4EDB-8984-1B2D4375FBAF}" dt="2021-07-23T13:35:59.300" v="1629" actId="1076"/>
          <ac:picMkLst>
            <pc:docMk/>
            <pc:sldMk cId="3458297983" sldId="2578"/>
            <ac:picMk id="11" creationId="{403987F8-9ADF-4DD3-BFA5-DE37FD0F062E}"/>
          </ac:picMkLst>
        </pc:picChg>
        <pc:picChg chg="add mod">
          <ac:chgData name="Müller, Kurt (SI BP S TSS TR)" userId="e7e82c7e-80c6-42a5-ab71-24588885b7fe" providerId="ADAL" clId="{9FEA2841-5B76-4EDB-8984-1B2D4375FBAF}" dt="2021-07-23T13:35:59.300" v="1629" actId="1076"/>
          <ac:picMkLst>
            <pc:docMk/>
            <pc:sldMk cId="3458297983" sldId="2578"/>
            <ac:picMk id="12" creationId="{A09D7CD5-B627-4CB3-BACE-0A6C273721E6}"/>
          </ac:picMkLst>
        </pc:picChg>
        <pc:picChg chg="add mod">
          <ac:chgData name="Müller, Kurt (SI BP S TSS TR)" userId="e7e82c7e-80c6-42a5-ab71-24588885b7fe" providerId="ADAL" clId="{9FEA2841-5B76-4EDB-8984-1B2D4375FBAF}" dt="2021-07-23T13:35:38.421" v="1625" actId="1076"/>
          <ac:picMkLst>
            <pc:docMk/>
            <pc:sldMk cId="3458297983" sldId="2578"/>
            <ac:picMk id="13" creationId="{8D800F34-16D4-4A69-B402-C4482F0B0142}"/>
          </ac:picMkLst>
        </pc:picChg>
        <pc:picChg chg="add mod">
          <ac:chgData name="Müller, Kurt (SI BP S TSS TR)" userId="e7e82c7e-80c6-42a5-ab71-24588885b7fe" providerId="ADAL" clId="{9FEA2841-5B76-4EDB-8984-1B2D4375FBAF}" dt="2021-07-23T13:35:38.421" v="1625" actId="1076"/>
          <ac:picMkLst>
            <pc:docMk/>
            <pc:sldMk cId="3458297983" sldId="2578"/>
            <ac:picMk id="15" creationId="{5BCAF12B-B2BB-4C60-9FC3-0CE0C7BD0D5A}"/>
          </ac:picMkLst>
        </pc:picChg>
        <pc:picChg chg="del">
          <ac:chgData name="Müller, Kurt (SI BP S TSS TR)" userId="e7e82c7e-80c6-42a5-ab71-24588885b7fe" providerId="ADAL" clId="{9FEA2841-5B76-4EDB-8984-1B2D4375FBAF}" dt="2021-07-21T09:04:16.359" v="796" actId="478"/>
          <ac:picMkLst>
            <pc:docMk/>
            <pc:sldMk cId="3458297983" sldId="2578"/>
            <ac:picMk id="19" creationId="{0F1B2C26-6111-4246-94F1-9087531B1DB0}"/>
          </ac:picMkLst>
        </pc:picChg>
        <pc:picChg chg="mod">
          <ac:chgData name="Müller, Kurt (SI BP S TSS TR)" userId="e7e82c7e-80c6-42a5-ab71-24588885b7fe" providerId="ADAL" clId="{9FEA2841-5B76-4EDB-8984-1B2D4375FBAF}" dt="2021-07-23T13:45:29.825" v="1788"/>
          <ac:picMkLst>
            <pc:docMk/>
            <pc:sldMk cId="3458297983" sldId="2578"/>
            <ac:picMk id="30" creationId="{DBFEC65A-B0D8-48F6-B272-8F474BA6E966}"/>
          </ac:picMkLst>
        </pc:picChg>
        <pc:picChg chg="mod">
          <ac:chgData name="Müller, Kurt (SI BP S TSS TR)" userId="e7e82c7e-80c6-42a5-ab71-24588885b7fe" providerId="ADAL" clId="{9FEA2841-5B76-4EDB-8984-1B2D4375FBAF}" dt="2021-07-23T13:45:51.941" v="1797" actId="1076"/>
          <ac:picMkLst>
            <pc:docMk/>
            <pc:sldMk cId="3458297983" sldId="2578"/>
            <ac:picMk id="36" creationId="{4B845A8D-E7ED-4298-8907-22F870EBD8F6}"/>
          </ac:picMkLst>
        </pc:picChg>
        <pc:picChg chg="del">
          <ac:chgData name="Müller, Kurt (SI BP S TSS TR)" userId="e7e82c7e-80c6-42a5-ab71-24588885b7fe" providerId="ADAL" clId="{9FEA2841-5B76-4EDB-8984-1B2D4375FBAF}" dt="2021-07-21T09:04:16.359" v="796" actId="478"/>
          <ac:picMkLst>
            <pc:docMk/>
            <pc:sldMk cId="3458297983" sldId="2578"/>
            <ac:picMk id="44" creationId="{95DD68FA-E9BF-4017-8646-D77E48938C82}"/>
          </ac:picMkLst>
        </pc:picChg>
        <pc:cxnChg chg="del">
          <ac:chgData name="Müller, Kurt (SI BP S TSS TR)" userId="e7e82c7e-80c6-42a5-ab71-24588885b7fe" providerId="ADAL" clId="{9FEA2841-5B76-4EDB-8984-1B2D4375FBAF}" dt="2021-07-21T09:04:16.359" v="796" actId="478"/>
          <ac:cxnSpMkLst>
            <pc:docMk/>
            <pc:sldMk cId="3458297983" sldId="2578"/>
            <ac:cxnSpMk id="9" creationId="{F3B5B37D-2223-4260-945B-FCB3E2DD166E}"/>
          </ac:cxnSpMkLst>
        </pc:cxnChg>
        <pc:cxnChg chg="del">
          <ac:chgData name="Müller, Kurt (SI BP S TSS TR)" userId="e7e82c7e-80c6-42a5-ab71-24588885b7fe" providerId="ADAL" clId="{9FEA2841-5B76-4EDB-8984-1B2D4375FBAF}" dt="2021-07-21T09:04:16.359" v="796" actId="478"/>
          <ac:cxnSpMkLst>
            <pc:docMk/>
            <pc:sldMk cId="3458297983" sldId="2578"/>
            <ac:cxnSpMk id="10" creationId="{0A6D2A58-F2F0-45DA-ACEA-59FD2518DF9C}"/>
          </ac:cxnSpMkLst>
        </pc:cxnChg>
        <pc:cxnChg chg="del">
          <ac:chgData name="Müller, Kurt (SI BP S TSS TR)" userId="e7e82c7e-80c6-42a5-ab71-24588885b7fe" providerId="ADAL" clId="{9FEA2841-5B76-4EDB-8984-1B2D4375FBAF}" dt="2021-07-21T09:04:16.359" v="796" actId="478"/>
          <ac:cxnSpMkLst>
            <pc:docMk/>
            <pc:sldMk cId="3458297983" sldId="2578"/>
            <ac:cxnSpMk id="11" creationId="{0F682995-DDA2-4D13-8F02-B2B026956B6D}"/>
          </ac:cxnSpMkLst>
        </pc:cxnChg>
        <pc:cxnChg chg="del">
          <ac:chgData name="Müller, Kurt (SI BP S TSS TR)" userId="e7e82c7e-80c6-42a5-ab71-24588885b7fe" providerId="ADAL" clId="{9FEA2841-5B76-4EDB-8984-1B2D4375FBAF}" dt="2021-07-21T09:04:16.359" v="796" actId="478"/>
          <ac:cxnSpMkLst>
            <pc:docMk/>
            <pc:sldMk cId="3458297983" sldId="2578"/>
            <ac:cxnSpMk id="14" creationId="{83EAAC2E-1F24-4760-B0FC-1B30E0E24719}"/>
          </ac:cxnSpMkLst>
        </pc:cxnChg>
        <pc:cxnChg chg="add mod">
          <ac:chgData name="Müller, Kurt (SI BP S TSS TR)" userId="e7e82c7e-80c6-42a5-ab71-24588885b7fe" providerId="ADAL" clId="{9FEA2841-5B76-4EDB-8984-1B2D4375FBAF}" dt="2021-07-23T13:35:38.421" v="1625" actId="1076"/>
          <ac:cxnSpMkLst>
            <pc:docMk/>
            <pc:sldMk cId="3458297983" sldId="2578"/>
            <ac:cxnSpMk id="16" creationId="{6C14A522-EE71-4D05-89E8-D973B1C386E3}"/>
          </ac:cxnSpMkLst>
        </pc:cxnChg>
        <pc:cxnChg chg="add mod">
          <ac:chgData name="Müller, Kurt (SI BP S TSS TR)" userId="e7e82c7e-80c6-42a5-ab71-24588885b7fe" providerId="ADAL" clId="{9FEA2841-5B76-4EDB-8984-1B2D4375FBAF}" dt="2021-07-23T13:35:38.421" v="1625" actId="1076"/>
          <ac:cxnSpMkLst>
            <pc:docMk/>
            <pc:sldMk cId="3458297983" sldId="2578"/>
            <ac:cxnSpMk id="17" creationId="{B12CF089-E9A5-4271-AE0A-D66A0459CFD3}"/>
          </ac:cxnSpMkLst>
        </pc:cxnChg>
        <pc:cxnChg chg="add mod">
          <ac:chgData name="Müller, Kurt (SI BP S TSS TR)" userId="e7e82c7e-80c6-42a5-ab71-24588885b7fe" providerId="ADAL" clId="{9FEA2841-5B76-4EDB-8984-1B2D4375FBAF}" dt="2021-07-23T13:35:38.421" v="1625" actId="1076"/>
          <ac:cxnSpMkLst>
            <pc:docMk/>
            <pc:sldMk cId="3458297983" sldId="2578"/>
            <ac:cxnSpMk id="18" creationId="{232AC03A-599F-466B-A3D2-885293006795}"/>
          </ac:cxnSpMkLst>
        </pc:cxnChg>
        <pc:cxnChg chg="del">
          <ac:chgData name="Müller, Kurt (SI BP S TSS TR)" userId="e7e82c7e-80c6-42a5-ab71-24588885b7fe" providerId="ADAL" clId="{9FEA2841-5B76-4EDB-8984-1B2D4375FBAF}" dt="2021-07-21T09:04:16.359" v="796" actId="478"/>
          <ac:cxnSpMkLst>
            <pc:docMk/>
            <pc:sldMk cId="3458297983" sldId="2578"/>
            <ac:cxnSpMk id="22" creationId="{04E5493B-774E-4659-8DFE-E5D6D62E84C6}"/>
          </ac:cxnSpMkLst>
        </pc:cxnChg>
        <pc:cxnChg chg="del mod">
          <ac:chgData name="Müller, Kurt (SI BP S TSS TR)" userId="e7e82c7e-80c6-42a5-ab71-24588885b7fe" providerId="ADAL" clId="{9FEA2841-5B76-4EDB-8984-1B2D4375FBAF}" dt="2021-07-21T09:04:16.359" v="796" actId="478"/>
          <ac:cxnSpMkLst>
            <pc:docMk/>
            <pc:sldMk cId="3458297983" sldId="2578"/>
            <ac:cxnSpMk id="27" creationId="{3DAB4043-CDCC-4CD6-B61C-EC1B4206FEEA}"/>
          </ac:cxnSpMkLst>
        </pc:cxnChg>
        <pc:cxnChg chg="del">
          <ac:chgData name="Müller, Kurt (SI BP S TSS TR)" userId="e7e82c7e-80c6-42a5-ab71-24588885b7fe" providerId="ADAL" clId="{9FEA2841-5B76-4EDB-8984-1B2D4375FBAF}" dt="2021-07-21T09:04:16.359" v="796" actId="478"/>
          <ac:cxnSpMkLst>
            <pc:docMk/>
            <pc:sldMk cId="3458297983" sldId="2578"/>
            <ac:cxnSpMk id="31" creationId="{67D22868-5D50-4228-803C-00B2268CE563}"/>
          </ac:cxnSpMkLst>
        </pc:cxnChg>
      </pc:sldChg>
      <pc:sldChg chg="addSp delSp modSp add del mod modAnim">
        <pc:chgData name="Müller, Kurt (SI BP S TSS TR)" userId="e7e82c7e-80c6-42a5-ab71-24588885b7fe" providerId="ADAL" clId="{9FEA2841-5B76-4EDB-8984-1B2D4375FBAF}" dt="2021-07-21T09:29:09.024" v="1153" actId="47"/>
        <pc:sldMkLst>
          <pc:docMk/>
          <pc:sldMk cId="619177906" sldId="2579"/>
        </pc:sldMkLst>
        <pc:spChg chg="del">
          <ac:chgData name="Müller, Kurt (SI BP S TSS TR)" userId="e7e82c7e-80c6-42a5-ab71-24588885b7fe" providerId="ADAL" clId="{9FEA2841-5B76-4EDB-8984-1B2D4375FBAF}" dt="2021-07-21T09:11:46.507" v="925" actId="478"/>
          <ac:spMkLst>
            <pc:docMk/>
            <pc:sldMk cId="619177906" sldId="2579"/>
            <ac:spMk id="24" creationId="{72DE5DA1-A112-49BD-A66D-4DCAA387FB12}"/>
          </ac:spMkLst>
        </pc:spChg>
        <pc:spChg chg="add 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26" creationId="{D156A09B-5964-4879-BD5F-CD0C5FE89F5E}"/>
          </ac:spMkLst>
        </pc:spChg>
        <pc:spChg chg="del">
          <ac:chgData name="Müller, Kurt (SI BP S TSS TR)" userId="e7e82c7e-80c6-42a5-ab71-24588885b7fe" providerId="ADAL" clId="{9FEA2841-5B76-4EDB-8984-1B2D4375FBAF}" dt="2021-07-21T09:11:44.587" v="924" actId="478"/>
          <ac:spMkLst>
            <pc:docMk/>
            <pc:sldMk cId="619177906" sldId="2579"/>
            <ac:spMk id="27" creationId="{BD2F4067-9B3F-4C89-BFEA-B992CED91F00}"/>
          </ac:spMkLst>
        </pc:spChg>
        <pc:spChg chg="del">
          <ac:chgData name="Müller, Kurt (SI BP S TSS TR)" userId="e7e82c7e-80c6-42a5-ab71-24588885b7fe" providerId="ADAL" clId="{9FEA2841-5B76-4EDB-8984-1B2D4375FBAF}" dt="2021-07-21T09:11:44.587" v="924" actId="478"/>
          <ac:spMkLst>
            <pc:docMk/>
            <pc:sldMk cId="619177906" sldId="2579"/>
            <ac:spMk id="28" creationId="{A3B7128D-3A4D-4AD4-BFA1-098CC3DA66BA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31" creationId="{7D9FC787-C49B-43A7-8F1F-F853D0297267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32" creationId="{8632F71F-3B3F-4648-99F2-CC1CCA35EB0F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33" creationId="{7C6CAFA6-72B5-464F-AD8F-28DFFEC19514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34" creationId="{339C3188-F374-4D4C-B31F-9ED68CEDE506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35" creationId="{9C473427-50F8-4545-BF8A-C941A135FCC7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36" creationId="{A692F344-EAF6-47E4-9071-CADB83ED2748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37" creationId="{D91683F8-8B60-4FFC-BEA3-8036E254A8D6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38" creationId="{4239A087-384E-4D82-888A-BBE340304118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39" creationId="{B951A4EB-7DE1-4183-99C6-10995C763620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40" creationId="{AFE66F27-9845-441E-98C6-1921DB25EBA7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41" creationId="{53A99361-8D93-48C3-AD7D-7241359B85ED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42" creationId="{FFDB89F0-C36B-442C-87DC-D07F06E4E52E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43" creationId="{16F864C6-3C82-4083-8694-B181ADBBC2B1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44" creationId="{BBF28D87-E838-4BF6-80EA-D36B69FF0E55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45" creationId="{D265D82E-51E6-489E-8010-CE91B944A630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46" creationId="{1F17C95D-27E4-405D-82D8-C3B7CEF22D3F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47" creationId="{CF8BFA73-76DE-40CE-8E21-C4BC6F09FE6C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48" creationId="{3240B1AB-4D9E-4BC8-AE5D-B2BD266548BE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49" creationId="{2DE243F3-1E8E-48AB-8199-3DAE07D27647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50" creationId="{093E541B-43DE-472C-BB78-DD353B70AD62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51" creationId="{D1B07D14-BBBD-44E5-AAC0-B3EF3BA35F33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52" creationId="{4120624C-5C21-4225-B7A4-55DEA0888613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53" creationId="{4CFCCD19-C0FA-4D28-B440-DDFB89406B37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54" creationId="{6F8D2892-A594-4292-8F26-DE91C07A2318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55" creationId="{9D666187-1723-48C3-BCDB-A4085FCBAD98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56" creationId="{73CAB2FA-0348-49BC-B35F-8FA284FCAE2A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57" creationId="{E08FC08B-821B-4320-9F99-3E46D706D798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58" creationId="{7DF140CF-6B99-4CE4-AFF8-AAA316C59AE4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59" creationId="{6FA2204A-A21C-47DE-A114-E94A106D1E9C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60" creationId="{11C2B58D-A890-41DC-A799-24EC420AAA0E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61" creationId="{E00A41B6-790D-44ED-9123-FF8DC5DAE84F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63" creationId="{46961BEA-59E5-4336-ACB5-E95DA31A682D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64" creationId="{CD6BD269-6014-4A7A-AA99-4350DA673629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66" creationId="{A489A995-2215-4822-9F03-B6164CBCE64B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67" creationId="{F8F05D59-5F40-4FDF-888E-C9B123DF9085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69" creationId="{7ABE7428-93C2-4250-86DA-C2F9883BD2A7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70" creationId="{8E148906-B7F1-4DBA-A18A-AD93679DE0F5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72" creationId="{9B92719D-908B-4CD6-9B75-6593565949C0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73" creationId="{30BDDABC-C8B1-4DED-956B-2911F07925C9}"/>
          </ac:spMkLst>
        </pc:spChg>
        <pc:spChg chg="add 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82" creationId="{D650E5B4-E691-4585-B7CE-0B8CCD3D74AE}"/>
          </ac:spMkLst>
        </pc:spChg>
        <pc:spChg chg="add 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83" creationId="{128BF1FF-3A83-4943-88CD-5563F1F857D5}"/>
          </ac:spMkLst>
        </pc:spChg>
        <pc:spChg chg="add 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84" creationId="{ABA1C98E-08D0-4C87-BB3C-71FF94D44677}"/>
          </ac:spMkLst>
        </pc:spChg>
        <pc:spChg chg="add 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85" creationId="{1211C9B7-C63A-463A-9B30-FEAFCD0CEFDB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87" creationId="{7879E94B-585E-49A3-BFBC-49D7A1BC2410}"/>
          </ac:spMkLst>
        </pc:spChg>
        <pc:spChg chg="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92" creationId="{ADE9A5F0-D997-4308-AEE4-84A967311631}"/>
          </ac:spMkLst>
        </pc:spChg>
        <pc:spChg chg="add 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95" creationId="{BA49EE46-AD2E-4E35-BD5D-94D54EC1FE12}"/>
          </ac:spMkLst>
        </pc:spChg>
        <pc:spChg chg="add mod">
          <ac:chgData name="Müller, Kurt (SI BP S TSS TR)" userId="e7e82c7e-80c6-42a5-ab71-24588885b7fe" providerId="ADAL" clId="{9FEA2841-5B76-4EDB-8984-1B2D4375FBAF}" dt="2021-07-21T09:13:17.859" v="927"/>
          <ac:spMkLst>
            <pc:docMk/>
            <pc:sldMk cId="619177906" sldId="2579"/>
            <ac:spMk id="96" creationId="{F58902F7-74F5-40D2-95E0-489AE3763F2D}"/>
          </ac:spMkLst>
        </pc:spChg>
        <pc:spChg chg="del">
          <ac:chgData name="Müller, Kurt (SI BP S TSS TR)" userId="e7e82c7e-80c6-42a5-ab71-24588885b7fe" providerId="ADAL" clId="{9FEA2841-5B76-4EDB-8984-1B2D4375FBAF}" dt="2021-07-21T09:11:44.587" v="924" actId="478"/>
          <ac:spMkLst>
            <pc:docMk/>
            <pc:sldMk cId="619177906" sldId="2579"/>
            <ac:spMk id="5126" creationId="{BF2D2108-7AB9-4C70-9BD1-F29FADE5B8E9}"/>
          </ac:spMkLst>
        </pc:spChg>
        <pc:spChg chg="del">
          <ac:chgData name="Müller, Kurt (SI BP S TSS TR)" userId="e7e82c7e-80c6-42a5-ab71-24588885b7fe" providerId="ADAL" clId="{9FEA2841-5B76-4EDB-8984-1B2D4375FBAF}" dt="2021-07-21T09:11:44.587" v="924" actId="478"/>
          <ac:spMkLst>
            <pc:docMk/>
            <pc:sldMk cId="619177906" sldId="2579"/>
            <ac:spMk id="5127" creationId="{EFFE4316-AA5F-4FAB-B5F9-57094213B90D}"/>
          </ac:spMkLst>
        </pc:spChg>
        <pc:spChg chg="del">
          <ac:chgData name="Müller, Kurt (SI BP S TSS TR)" userId="e7e82c7e-80c6-42a5-ab71-24588885b7fe" providerId="ADAL" clId="{9FEA2841-5B76-4EDB-8984-1B2D4375FBAF}" dt="2021-07-21T09:11:44.587" v="924" actId="478"/>
          <ac:spMkLst>
            <pc:docMk/>
            <pc:sldMk cId="619177906" sldId="2579"/>
            <ac:spMk id="5129" creationId="{401BCBC9-B26F-4EB9-882D-4BD4E0230ECD}"/>
          </ac:spMkLst>
        </pc:spChg>
        <pc:spChg chg="del">
          <ac:chgData name="Müller, Kurt (SI BP S TSS TR)" userId="e7e82c7e-80c6-42a5-ab71-24588885b7fe" providerId="ADAL" clId="{9FEA2841-5B76-4EDB-8984-1B2D4375FBAF}" dt="2021-07-21T09:11:44.587" v="924" actId="478"/>
          <ac:spMkLst>
            <pc:docMk/>
            <pc:sldMk cId="619177906" sldId="2579"/>
            <ac:spMk id="5130" creationId="{643D4502-63C1-49A6-B827-F953B90622BC}"/>
          </ac:spMkLst>
        </pc:spChg>
        <pc:spChg chg="del">
          <ac:chgData name="Müller, Kurt (SI BP S TSS TR)" userId="e7e82c7e-80c6-42a5-ab71-24588885b7fe" providerId="ADAL" clId="{9FEA2841-5B76-4EDB-8984-1B2D4375FBAF}" dt="2021-07-21T09:11:44.587" v="924" actId="478"/>
          <ac:spMkLst>
            <pc:docMk/>
            <pc:sldMk cId="619177906" sldId="2579"/>
            <ac:spMk id="5133" creationId="{FD24B05B-A136-42D5-9460-F09E2C0CB8F3}"/>
          </ac:spMkLst>
        </pc:spChg>
        <pc:spChg chg="del">
          <ac:chgData name="Müller, Kurt (SI BP S TSS TR)" userId="e7e82c7e-80c6-42a5-ab71-24588885b7fe" providerId="ADAL" clId="{9FEA2841-5B76-4EDB-8984-1B2D4375FBAF}" dt="2021-07-21T09:11:44.587" v="924" actId="478"/>
          <ac:spMkLst>
            <pc:docMk/>
            <pc:sldMk cId="619177906" sldId="2579"/>
            <ac:spMk id="5134" creationId="{D26F6A7F-A697-4322-B2C8-3F1AA3EEB0D8}"/>
          </ac:spMkLst>
        </pc:spChg>
        <pc:spChg chg="del">
          <ac:chgData name="Müller, Kurt (SI BP S TSS TR)" userId="e7e82c7e-80c6-42a5-ab71-24588885b7fe" providerId="ADAL" clId="{9FEA2841-5B76-4EDB-8984-1B2D4375FBAF}" dt="2021-07-21T09:11:44.587" v="924" actId="478"/>
          <ac:spMkLst>
            <pc:docMk/>
            <pc:sldMk cId="619177906" sldId="2579"/>
            <ac:spMk id="5137" creationId="{EA215408-2965-488A-B51F-3E8F710538C1}"/>
          </ac:spMkLst>
        </pc:spChg>
        <pc:grpChg chg="add mod">
          <ac:chgData name="Müller, Kurt (SI BP S TSS TR)" userId="e7e82c7e-80c6-42a5-ab71-24588885b7fe" providerId="ADAL" clId="{9FEA2841-5B76-4EDB-8984-1B2D4375FBAF}" dt="2021-07-21T09:13:17.859" v="927"/>
          <ac:grpSpMkLst>
            <pc:docMk/>
            <pc:sldMk cId="619177906" sldId="2579"/>
            <ac:grpSpMk id="30" creationId="{26095A56-C188-401C-93D6-049EC5F2A529}"/>
          </ac:grpSpMkLst>
        </pc:grpChg>
        <pc:grpChg chg="add mod">
          <ac:chgData name="Müller, Kurt (SI BP S TSS TR)" userId="e7e82c7e-80c6-42a5-ab71-24588885b7fe" providerId="ADAL" clId="{9FEA2841-5B76-4EDB-8984-1B2D4375FBAF}" dt="2021-07-21T09:13:17.859" v="927"/>
          <ac:grpSpMkLst>
            <pc:docMk/>
            <pc:sldMk cId="619177906" sldId="2579"/>
            <ac:grpSpMk id="62" creationId="{64D61EB7-46B6-4490-96D4-8D2758C08332}"/>
          </ac:grpSpMkLst>
        </pc:grpChg>
        <pc:grpChg chg="add mod">
          <ac:chgData name="Müller, Kurt (SI BP S TSS TR)" userId="e7e82c7e-80c6-42a5-ab71-24588885b7fe" providerId="ADAL" clId="{9FEA2841-5B76-4EDB-8984-1B2D4375FBAF}" dt="2021-07-21T09:13:17.859" v="927"/>
          <ac:grpSpMkLst>
            <pc:docMk/>
            <pc:sldMk cId="619177906" sldId="2579"/>
            <ac:grpSpMk id="65" creationId="{AEB99628-C301-4BA9-BC0D-F254A795073C}"/>
          </ac:grpSpMkLst>
        </pc:grpChg>
        <pc:grpChg chg="add mod">
          <ac:chgData name="Müller, Kurt (SI BP S TSS TR)" userId="e7e82c7e-80c6-42a5-ab71-24588885b7fe" providerId="ADAL" clId="{9FEA2841-5B76-4EDB-8984-1B2D4375FBAF}" dt="2021-07-21T09:13:17.859" v="927"/>
          <ac:grpSpMkLst>
            <pc:docMk/>
            <pc:sldMk cId="619177906" sldId="2579"/>
            <ac:grpSpMk id="68" creationId="{632E14ED-A2BF-46A6-8851-0EA4707CD1E1}"/>
          </ac:grpSpMkLst>
        </pc:grpChg>
        <pc:grpChg chg="add mod">
          <ac:chgData name="Müller, Kurt (SI BP S TSS TR)" userId="e7e82c7e-80c6-42a5-ab71-24588885b7fe" providerId="ADAL" clId="{9FEA2841-5B76-4EDB-8984-1B2D4375FBAF}" dt="2021-07-21T09:13:17.859" v="927"/>
          <ac:grpSpMkLst>
            <pc:docMk/>
            <pc:sldMk cId="619177906" sldId="2579"/>
            <ac:grpSpMk id="71" creationId="{2A9CB0DE-9C0E-4F63-AD4C-61D6AA89D758}"/>
          </ac:grpSpMkLst>
        </pc:grpChg>
        <pc:grpChg chg="add mod">
          <ac:chgData name="Müller, Kurt (SI BP S TSS TR)" userId="e7e82c7e-80c6-42a5-ab71-24588885b7fe" providerId="ADAL" clId="{9FEA2841-5B76-4EDB-8984-1B2D4375FBAF}" dt="2021-07-21T09:13:17.859" v="927"/>
          <ac:grpSpMkLst>
            <pc:docMk/>
            <pc:sldMk cId="619177906" sldId="2579"/>
            <ac:grpSpMk id="86" creationId="{81AB3732-94DA-4DF9-8B53-00C509CB502D}"/>
          </ac:grpSpMkLst>
        </pc:grpChg>
        <pc:grpChg chg="add mod">
          <ac:chgData name="Müller, Kurt (SI BP S TSS TR)" userId="e7e82c7e-80c6-42a5-ab71-24588885b7fe" providerId="ADAL" clId="{9FEA2841-5B76-4EDB-8984-1B2D4375FBAF}" dt="2021-07-21T09:13:17.859" v="927"/>
          <ac:grpSpMkLst>
            <pc:docMk/>
            <pc:sldMk cId="619177906" sldId="2579"/>
            <ac:grpSpMk id="90" creationId="{C2F69268-3DEF-4CE5-803F-3A34FBC4F0FB}"/>
          </ac:grpSpMkLst>
        </pc:grpChg>
        <pc:grpChg chg="del">
          <ac:chgData name="Müller, Kurt (SI BP S TSS TR)" userId="e7e82c7e-80c6-42a5-ab71-24588885b7fe" providerId="ADAL" clId="{9FEA2841-5B76-4EDB-8984-1B2D4375FBAF}" dt="2021-07-21T09:11:44.587" v="924" actId="478"/>
          <ac:grpSpMkLst>
            <pc:docMk/>
            <pc:sldMk cId="619177906" sldId="2579"/>
            <ac:grpSpMk id="5128" creationId="{18574174-F828-41D3-A2F0-72F5CEDBE9D8}"/>
          </ac:grpSpMkLst>
        </pc:grpChg>
        <pc:picChg chg="add mod">
          <ac:chgData name="Müller, Kurt (SI BP S TSS TR)" userId="e7e82c7e-80c6-42a5-ab71-24588885b7fe" providerId="ADAL" clId="{9FEA2841-5B76-4EDB-8984-1B2D4375FBAF}" dt="2021-07-21T09:13:17.859" v="927"/>
          <ac:picMkLst>
            <pc:docMk/>
            <pc:sldMk cId="619177906" sldId="2579"/>
            <ac:picMk id="22" creationId="{FF4B5B91-E9FC-44AF-ADB7-14D14FFBF479}"/>
          </ac:picMkLst>
        </pc:picChg>
        <pc:picChg chg="add mod">
          <ac:chgData name="Müller, Kurt (SI BP S TSS TR)" userId="e7e82c7e-80c6-42a5-ab71-24588885b7fe" providerId="ADAL" clId="{9FEA2841-5B76-4EDB-8984-1B2D4375FBAF}" dt="2021-07-21T09:13:17.859" v="927"/>
          <ac:picMkLst>
            <pc:docMk/>
            <pc:sldMk cId="619177906" sldId="2579"/>
            <ac:picMk id="81" creationId="{5AB840E0-2248-4107-92C2-25FC67544F77}"/>
          </ac:picMkLst>
        </pc:picChg>
        <pc:picChg chg="mod">
          <ac:chgData name="Müller, Kurt (SI BP S TSS TR)" userId="e7e82c7e-80c6-42a5-ab71-24588885b7fe" providerId="ADAL" clId="{9FEA2841-5B76-4EDB-8984-1B2D4375FBAF}" dt="2021-07-21T09:13:17.859" v="927"/>
          <ac:picMkLst>
            <pc:docMk/>
            <pc:sldMk cId="619177906" sldId="2579"/>
            <ac:picMk id="88" creationId="{4C752EED-99D7-4358-A30F-5FE3089B329A}"/>
          </ac:picMkLst>
        </pc:picChg>
        <pc:picChg chg="mod">
          <ac:chgData name="Müller, Kurt (SI BP S TSS TR)" userId="e7e82c7e-80c6-42a5-ab71-24588885b7fe" providerId="ADAL" clId="{9FEA2841-5B76-4EDB-8984-1B2D4375FBAF}" dt="2021-07-21T09:13:17.859" v="927"/>
          <ac:picMkLst>
            <pc:docMk/>
            <pc:sldMk cId="619177906" sldId="2579"/>
            <ac:picMk id="91" creationId="{E224EBB2-4545-4F0E-9F0B-0148CAA2ED1E}"/>
          </ac:picMkLst>
        </pc:picChg>
        <pc:picChg chg="mod">
          <ac:chgData name="Müller, Kurt (SI BP S TSS TR)" userId="e7e82c7e-80c6-42a5-ab71-24588885b7fe" providerId="ADAL" clId="{9FEA2841-5B76-4EDB-8984-1B2D4375FBAF}" dt="2021-07-21T09:13:17.859" v="927"/>
          <ac:picMkLst>
            <pc:docMk/>
            <pc:sldMk cId="619177906" sldId="2579"/>
            <ac:picMk id="93" creationId="{0FE60AFB-F140-4D3B-9212-EA423440A6DF}"/>
          </ac:picMkLst>
        </pc:picChg>
        <pc:picChg chg="add mod">
          <ac:chgData name="Müller, Kurt (SI BP S TSS TR)" userId="e7e82c7e-80c6-42a5-ab71-24588885b7fe" providerId="ADAL" clId="{9FEA2841-5B76-4EDB-8984-1B2D4375FBAF}" dt="2021-07-21T09:13:17.859" v="927"/>
          <ac:picMkLst>
            <pc:docMk/>
            <pc:sldMk cId="619177906" sldId="2579"/>
            <ac:picMk id="94" creationId="{2AE1FC77-C63A-4D90-B0D3-C1C6D54AFF7C}"/>
          </ac:picMkLst>
        </pc:picChg>
        <pc:picChg chg="add mod">
          <ac:chgData name="Müller, Kurt (SI BP S TSS TR)" userId="e7e82c7e-80c6-42a5-ab71-24588885b7fe" providerId="ADAL" clId="{9FEA2841-5B76-4EDB-8984-1B2D4375FBAF}" dt="2021-07-21T09:13:17.859" v="927"/>
          <ac:picMkLst>
            <pc:docMk/>
            <pc:sldMk cId="619177906" sldId="2579"/>
            <ac:picMk id="97" creationId="{B746677F-033B-4494-8AEE-8D0A1293D99C}"/>
          </ac:picMkLst>
        </pc:picChg>
        <pc:picChg chg="add mod">
          <ac:chgData name="Müller, Kurt (SI BP S TSS TR)" userId="e7e82c7e-80c6-42a5-ab71-24588885b7fe" providerId="ADAL" clId="{9FEA2841-5B76-4EDB-8984-1B2D4375FBAF}" dt="2021-07-21T09:13:17.859" v="927"/>
          <ac:picMkLst>
            <pc:docMk/>
            <pc:sldMk cId="619177906" sldId="2579"/>
            <ac:picMk id="98" creationId="{2B1286D7-22B3-4E00-88D5-1928ED7F3A5B}"/>
          </ac:picMkLst>
        </pc:picChg>
        <pc:cxnChg chg="add mod">
          <ac:chgData name="Müller, Kurt (SI BP S TSS TR)" userId="e7e82c7e-80c6-42a5-ab71-24588885b7fe" providerId="ADAL" clId="{9FEA2841-5B76-4EDB-8984-1B2D4375FBAF}" dt="2021-07-21T09:13:17.859" v="927"/>
          <ac:cxnSpMkLst>
            <pc:docMk/>
            <pc:sldMk cId="619177906" sldId="2579"/>
            <ac:cxnSpMk id="29" creationId="{A5E2F7F8-77AE-455A-AC8E-9C7A331CDEFE}"/>
          </ac:cxnSpMkLst>
        </pc:cxnChg>
        <pc:cxnChg chg="add mod">
          <ac:chgData name="Müller, Kurt (SI BP S TSS TR)" userId="e7e82c7e-80c6-42a5-ab71-24588885b7fe" providerId="ADAL" clId="{9FEA2841-5B76-4EDB-8984-1B2D4375FBAF}" dt="2021-07-21T09:13:17.859" v="927"/>
          <ac:cxnSpMkLst>
            <pc:docMk/>
            <pc:sldMk cId="619177906" sldId="2579"/>
            <ac:cxnSpMk id="74" creationId="{331E18E2-D2F5-4508-8383-3E6662817200}"/>
          </ac:cxnSpMkLst>
        </pc:cxnChg>
        <pc:cxnChg chg="add mod">
          <ac:chgData name="Müller, Kurt (SI BP S TSS TR)" userId="e7e82c7e-80c6-42a5-ab71-24588885b7fe" providerId="ADAL" clId="{9FEA2841-5B76-4EDB-8984-1B2D4375FBAF}" dt="2021-07-21T09:13:17.859" v="927"/>
          <ac:cxnSpMkLst>
            <pc:docMk/>
            <pc:sldMk cId="619177906" sldId="2579"/>
            <ac:cxnSpMk id="75" creationId="{2A9F0B9D-7C0D-40B8-80BD-1087CE1F03AB}"/>
          </ac:cxnSpMkLst>
        </pc:cxnChg>
        <pc:cxnChg chg="add mod">
          <ac:chgData name="Müller, Kurt (SI BP S TSS TR)" userId="e7e82c7e-80c6-42a5-ab71-24588885b7fe" providerId="ADAL" clId="{9FEA2841-5B76-4EDB-8984-1B2D4375FBAF}" dt="2021-07-21T09:13:17.859" v="927"/>
          <ac:cxnSpMkLst>
            <pc:docMk/>
            <pc:sldMk cId="619177906" sldId="2579"/>
            <ac:cxnSpMk id="76" creationId="{17C366B3-8454-40D6-AE3D-0FF1D1C2C073}"/>
          </ac:cxnSpMkLst>
        </pc:cxnChg>
        <pc:cxnChg chg="add mod">
          <ac:chgData name="Müller, Kurt (SI BP S TSS TR)" userId="e7e82c7e-80c6-42a5-ab71-24588885b7fe" providerId="ADAL" clId="{9FEA2841-5B76-4EDB-8984-1B2D4375FBAF}" dt="2021-07-21T09:13:17.859" v="927"/>
          <ac:cxnSpMkLst>
            <pc:docMk/>
            <pc:sldMk cId="619177906" sldId="2579"/>
            <ac:cxnSpMk id="77" creationId="{9CCA2FE4-0CC4-4FED-A5F3-ADC835FFB4FB}"/>
          </ac:cxnSpMkLst>
        </pc:cxnChg>
        <pc:cxnChg chg="add mod">
          <ac:chgData name="Müller, Kurt (SI BP S TSS TR)" userId="e7e82c7e-80c6-42a5-ab71-24588885b7fe" providerId="ADAL" clId="{9FEA2841-5B76-4EDB-8984-1B2D4375FBAF}" dt="2021-07-21T09:13:17.859" v="927"/>
          <ac:cxnSpMkLst>
            <pc:docMk/>
            <pc:sldMk cId="619177906" sldId="2579"/>
            <ac:cxnSpMk id="78" creationId="{0E0A23F9-E424-4F35-8692-4D192B721F77}"/>
          </ac:cxnSpMkLst>
        </pc:cxnChg>
        <pc:cxnChg chg="add mod">
          <ac:chgData name="Müller, Kurt (SI BP S TSS TR)" userId="e7e82c7e-80c6-42a5-ab71-24588885b7fe" providerId="ADAL" clId="{9FEA2841-5B76-4EDB-8984-1B2D4375FBAF}" dt="2021-07-21T09:13:17.859" v="927"/>
          <ac:cxnSpMkLst>
            <pc:docMk/>
            <pc:sldMk cId="619177906" sldId="2579"/>
            <ac:cxnSpMk id="79" creationId="{EE20C6FC-00DE-4CE4-AE53-AB86AE6F7828}"/>
          </ac:cxnSpMkLst>
        </pc:cxnChg>
        <pc:cxnChg chg="add mod">
          <ac:chgData name="Müller, Kurt (SI BP S TSS TR)" userId="e7e82c7e-80c6-42a5-ab71-24588885b7fe" providerId="ADAL" clId="{9FEA2841-5B76-4EDB-8984-1B2D4375FBAF}" dt="2021-07-21T09:13:17.859" v="927"/>
          <ac:cxnSpMkLst>
            <pc:docMk/>
            <pc:sldMk cId="619177906" sldId="2579"/>
            <ac:cxnSpMk id="80" creationId="{6BE6C004-E0DA-4959-BD95-93895F12AB89}"/>
          </ac:cxnSpMkLst>
        </pc:cxnChg>
        <pc:cxnChg chg="add mod">
          <ac:chgData name="Müller, Kurt (SI BP S TSS TR)" userId="e7e82c7e-80c6-42a5-ab71-24588885b7fe" providerId="ADAL" clId="{9FEA2841-5B76-4EDB-8984-1B2D4375FBAF}" dt="2021-07-21T09:13:17.859" v="927"/>
          <ac:cxnSpMkLst>
            <pc:docMk/>
            <pc:sldMk cId="619177906" sldId="2579"/>
            <ac:cxnSpMk id="89" creationId="{87787FAD-9786-4465-84EA-24F99D2E03FD}"/>
          </ac:cxnSpMkLst>
        </pc:cxnChg>
        <pc:cxnChg chg="del">
          <ac:chgData name="Müller, Kurt (SI BP S TSS TR)" userId="e7e82c7e-80c6-42a5-ab71-24588885b7fe" providerId="ADAL" clId="{9FEA2841-5B76-4EDB-8984-1B2D4375FBAF}" dt="2021-07-21T09:11:44.587" v="924" actId="478"/>
          <ac:cxnSpMkLst>
            <pc:docMk/>
            <pc:sldMk cId="619177906" sldId="2579"/>
            <ac:cxnSpMk id="5135" creationId="{03475409-509C-4028-B02C-91FF7D77B6CE}"/>
          </ac:cxnSpMkLst>
        </pc:cxnChg>
        <pc:cxnChg chg="del">
          <ac:chgData name="Müller, Kurt (SI BP S TSS TR)" userId="e7e82c7e-80c6-42a5-ab71-24588885b7fe" providerId="ADAL" clId="{9FEA2841-5B76-4EDB-8984-1B2D4375FBAF}" dt="2021-07-21T09:11:44.587" v="924" actId="478"/>
          <ac:cxnSpMkLst>
            <pc:docMk/>
            <pc:sldMk cId="619177906" sldId="2579"/>
            <ac:cxnSpMk id="5136" creationId="{18CCAF14-1139-41C5-9BE0-E9FBA285225B}"/>
          </ac:cxnSpMkLst>
        </pc:cxnChg>
      </pc:sldChg>
      <pc:sldChg chg="add del">
        <pc:chgData name="Müller, Kurt (SI BP S TSS TR)" userId="e7e82c7e-80c6-42a5-ab71-24588885b7fe" providerId="ADAL" clId="{9FEA2841-5B76-4EDB-8984-1B2D4375FBAF}" dt="2021-07-21T09:13:41.839" v="928" actId="47"/>
        <pc:sldMkLst>
          <pc:docMk/>
          <pc:sldMk cId="486961698" sldId="2580"/>
        </pc:sldMkLst>
      </pc:sldChg>
      <pc:sldChg chg="addSp delSp modSp add mod delAnim modAnim">
        <pc:chgData name="Müller, Kurt (SI BP S TSS TR)" userId="e7e82c7e-80c6-42a5-ab71-24588885b7fe" providerId="ADAL" clId="{9FEA2841-5B76-4EDB-8984-1B2D4375FBAF}" dt="2021-07-21T09:29:22.725" v="1161" actId="20577"/>
        <pc:sldMkLst>
          <pc:docMk/>
          <pc:sldMk cId="1582216341" sldId="2580"/>
        </pc:sldMkLst>
        <pc:spChg chg="mod">
          <ac:chgData name="Müller, Kurt (SI BP S TSS TR)" userId="e7e82c7e-80c6-42a5-ab71-24588885b7fe" providerId="ADAL" clId="{9FEA2841-5B76-4EDB-8984-1B2D4375FBAF}" dt="2021-07-21T09:14:06.681" v="957" actId="20577"/>
          <ac:spMkLst>
            <pc:docMk/>
            <pc:sldMk cId="1582216341" sldId="2580"/>
            <ac:spMk id="64" creationId="{CD6BD269-6014-4A7A-AA99-4350DA673629}"/>
          </ac:spMkLst>
        </pc:spChg>
        <pc:spChg chg="mod">
          <ac:chgData name="Müller, Kurt (SI BP S TSS TR)" userId="e7e82c7e-80c6-42a5-ab71-24588885b7fe" providerId="ADAL" clId="{9FEA2841-5B76-4EDB-8984-1B2D4375FBAF}" dt="2021-07-21T09:14:28.219" v="998" actId="20577"/>
          <ac:spMkLst>
            <pc:docMk/>
            <pc:sldMk cId="1582216341" sldId="2580"/>
            <ac:spMk id="67" creationId="{F8F05D59-5F40-4FDF-888E-C9B123DF9085}"/>
          </ac:spMkLst>
        </pc:spChg>
        <pc:spChg chg="mod">
          <ac:chgData name="Müller, Kurt (SI BP S TSS TR)" userId="e7e82c7e-80c6-42a5-ab71-24588885b7fe" providerId="ADAL" clId="{9FEA2841-5B76-4EDB-8984-1B2D4375FBAF}" dt="2021-07-21T09:15:45.700" v="1034" actId="20577"/>
          <ac:spMkLst>
            <pc:docMk/>
            <pc:sldMk cId="1582216341" sldId="2580"/>
            <ac:spMk id="70" creationId="{8E148906-B7F1-4DBA-A18A-AD93679DE0F5}"/>
          </ac:spMkLst>
        </pc:spChg>
        <pc:spChg chg="mod">
          <ac:chgData name="Müller, Kurt (SI BP S TSS TR)" userId="e7e82c7e-80c6-42a5-ab71-24588885b7fe" providerId="ADAL" clId="{9FEA2841-5B76-4EDB-8984-1B2D4375FBAF}" dt="2021-07-21T09:15:13.215" v="1021" actId="20577"/>
          <ac:spMkLst>
            <pc:docMk/>
            <pc:sldMk cId="1582216341" sldId="2580"/>
            <ac:spMk id="73" creationId="{30BDDABC-C8B1-4DED-956B-2911F07925C9}"/>
          </ac:spMkLst>
        </pc:spChg>
        <pc:spChg chg="mod">
          <ac:chgData name="Müller, Kurt (SI BP S TSS TR)" userId="e7e82c7e-80c6-42a5-ab71-24588885b7fe" providerId="ADAL" clId="{9FEA2841-5B76-4EDB-8984-1B2D4375FBAF}" dt="2021-07-21T09:15:59.771" v="1037" actId="1076"/>
          <ac:spMkLst>
            <pc:docMk/>
            <pc:sldMk cId="1582216341" sldId="2580"/>
            <ac:spMk id="92" creationId="{ADE9A5F0-D997-4308-AEE4-84A967311631}"/>
          </ac:spMkLst>
        </pc:spChg>
        <pc:spChg chg="mod">
          <ac:chgData name="Müller, Kurt (SI BP S TSS TR)" userId="e7e82c7e-80c6-42a5-ab71-24588885b7fe" providerId="ADAL" clId="{9FEA2841-5B76-4EDB-8984-1B2D4375FBAF}" dt="2021-07-21T09:29:22.725" v="1161" actId="20577"/>
          <ac:spMkLst>
            <pc:docMk/>
            <pc:sldMk cId="1582216341" sldId="2580"/>
            <ac:spMk id="96" creationId="{F58902F7-74F5-40D2-95E0-489AE3763F2D}"/>
          </ac:spMkLst>
        </pc:spChg>
        <pc:spChg chg="mod">
          <ac:chgData name="Müller, Kurt (SI BP S TSS TR)" userId="e7e82c7e-80c6-42a5-ab71-24588885b7fe" providerId="ADAL" clId="{9FEA2841-5B76-4EDB-8984-1B2D4375FBAF}" dt="2021-07-21T09:16:04.604" v="1038" actId="571"/>
          <ac:spMkLst>
            <pc:docMk/>
            <pc:sldMk cId="1582216341" sldId="2580"/>
            <ac:spMk id="101" creationId="{123B9797-DAB5-49CA-BA6C-FF2D5AEEFA7D}"/>
          </ac:spMkLst>
        </pc:spChg>
        <pc:spChg chg="mod">
          <ac:chgData name="Müller, Kurt (SI BP S TSS TR)" userId="e7e82c7e-80c6-42a5-ab71-24588885b7fe" providerId="ADAL" clId="{9FEA2841-5B76-4EDB-8984-1B2D4375FBAF}" dt="2021-07-21T09:16:35.914" v="1046" actId="1076"/>
          <ac:spMkLst>
            <pc:docMk/>
            <pc:sldMk cId="1582216341" sldId="2580"/>
            <ac:spMk id="105" creationId="{EAAAADEE-4B0E-4D5A-91E0-8A4CB6A150AC}"/>
          </ac:spMkLst>
        </pc:spChg>
        <pc:grpChg chg="del">
          <ac:chgData name="Müller, Kurt (SI BP S TSS TR)" userId="e7e82c7e-80c6-42a5-ab71-24588885b7fe" providerId="ADAL" clId="{9FEA2841-5B76-4EDB-8984-1B2D4375FBAF}" dt="2021-07-21T09:15:21.178" v="1023" actId="478"/>
          <ac:grpSpMkLst>
            <pc:docMk/>
            <pc:sldMk cId="1582216341" sldId="2580"/>
            <ac:grpSpMk id="86" creationId="{81AB3732-94DA-4DF9-8B53-00C509CB502D}"/>
          </ac:grpSpMkLst>
        </pc:grpChg>
        <pc:grpChg chg="mod">
          <ac:chgData name="Müller, Kurt (SI BP S TSS TR)" userId="e7e82c7e-80c6-42a5-ab71-24588885b7fe" providerId="ADAL" clId="{9FEA2841-5B76-4EDB-8984-1B2D4375FBAF}" dt="2021-07-21T09:15:59.771" v="1037" actId="1076"/>
          <ac:grpSpMkLst>
            <pc:docMk/>
            <pc:sldMk cId="1582216341" sldId="2580"/>
            <ac:grpSpMk id="90" creationId="{C2F69268-3DEF-4CE5-803F-3A34FBC4F0FB}"/>
          </ac:grpSpMkLst>
        </pc:grpChg>
        <pc:grpChg chg="add del mod">
          <ac:chgData name="Müller, Kurt (SI BP S TSS TR)" userId="e7e82c7e-80c6-42a5-ab71-24588885b7fe" providerId="ADAL" clId="{9FEA2841-5B76-4EDB-8984-1B2D4375FBAF}" dt="2021-07-21T09:16:13.954" v="1042" actId="478"/>
          <ac:grpSpMkLst>
            <pc:docMk/>
            <pc:sldMk cId="1582216341" sldId="2580"/>
            <ac:grpSpMk id="99" creationId="{A9F59D3D-63E9-4790-AFC4-CE72CC9D78C7}"/>
          </ac:grpSpMkLst>
        </pc:grpChg>
        <pc:grpChg chg="add mod">
          <ac:chgData name="Müller, Kurt (SI BP S TSS TR)" userId="e7e82c7e-80c6-42a5-ab71-24588885b7fe" providerId="ADAL" clId="{9FEA2841-5B76-4EDB-8984-1B2D4375FBAF}" dt="2021-07-21T09:16:33.907" v="1045" actId="1076"/>
          <ac:grpSpMkLst>
            <pc:docMk/>
            <pc:sldMk cId="1582216341" sldId="2580"/>
            <ac:grpSpMk id="103" creationId="{06416681-DEBC-4A14-822A-5697981C90D8}"/>
          </ac:grpSpMkLst>
        </pc:grpChg>
        <pc:picChg chg="mod">
          <ac:chgData name="Müller, Kurt (SI BP S TSS TR)" userId="e7e82c7e-80c6-42a5-ab71-24588885b7fe" providerId="ADAL" clId="{9FEA2841-5B76-4EDB-8984-1B2D4375FBAF}" dt="2021-07-21T09:15:59.771" v="1037" actId="1076"/>
          <ac:picMkLst>
            <pc:docMk/>
            <pc:sldMk cId="1582216341" sldId="2580"/>
            <ac:picMk id="91" creationId="{E224EBB2-4545-4F0E-9F0B-0148CAA2ED1E}"/>
          </ac:picMkLst>
        </pc:picChg>
        <pc:picChg chg="mod">
          <ac:chgData name="Müller, Kurt (SI BP S TSS TR)" userId="e7e82c7e-80c6-42a5-ab71-24588885b7fe" providerId="ADAL" clId="{9FEA2841-5B76-4EDB-8984-1B2D4375FBAF}" dt="2021-07-21T09:15:59.771" v="1037" actId="1076"/>
          <ac:picMkLst>
            <pc:docMk/>
            <pc:sldMk cId="1582216341" sldId="2580"/>
            <ac:picMk id="93" creationId="{0FE60AFB-F140-4D3B-9212-EA423440A6DF}"/>
          </ac:picMkLst>
        </pc:picChg>
        <pc:picChg chg="del">
          <ac:chgData name="Müller, Kurt (SI BP S TSS TR)" userId="e7e82c7e-80c6-42a5-ab71-24588885b7fe" providerId="ADAL" clId="{9FEA2841-5B76-4EDB-8984-1B2D4375FBAF}" dt="2021-07-21T09:15:50.256" v="1036" actId="478"/>
          <ac:picMkLst>
            <pc:docMk/>
            <pc:sldMk cId="1582216341" sldId="2580"/>
            <ac:picMk id="94" creationId="{2AE1FC77-C63A-4D90-B0D3-C1C6D54AFF7C}"/>
          </ac:picMkLst>
        </pc:picChg>
        <pc:picChg chg="del">
          <ac:chgData name="Müller, Kurt (SI BP S TSS TR)" userId="e7e82c7e-80c6-42a5-ab71-24588885b7fe" providerId="ADAL" clId="{9FEA2841-5B76-4EDB-8984-1B2D4375FBAF}" dt="2021-07-21T09:15:49.285" v="1035" actId="478"/>
          <ac:picMkLst>
            <pc:docMk/>
            <pc:sldMk cId="1582216341" sldId="2580"/>
            <ac:picMk id="97" creationId="{B746677F-033B-4494-8AEE-8D0A1293D99C}"/>
          </ac:picMkLst>
        </pc:picChg>
        <pc:picChg chg="del">
          <ac:chgData name="Müller, Kurt (SI BP S TSS TR)" userId="e7e82c7e-80c6-42a5-ab71-24588885b7fe" providerId="ADAL" clId="{9FEA2841-5B76-4EDB-8984-1B2D4375FBAF}" dt="2021-07-21T09:15:19.762" v="1022" actId="478"/>
          <ac:picMkLst>
            <pc:docMk/>
            <pc:sldMk cId="1582216341" sldId="2580"/>
            <ac:picMk id="98" creationId="{2B1286D7-22B3-4E00-88D5-1928ED7F3A5B}"/>
          </ac:picMkLst>
        </pc:picChg>
        <pc:picChg chg="mod">
          <ac:chgData name="Müller, Kurt (SI BP S TSS TR)" userId="e7e82c7e-80c6-42a5-ab71-24588885b7fe" providerId="ADAL" clId="{9FEA2841-5B76-4EDB-8984-1B2D4375FBAF}" dt="2021-07-21T09:16:04.604" v="1038" actId="571"/>
          <ac:picMkLst>
            <pc:docMk/>
            <pc:sldMk cId="1582216341" sldId="2580"/>
            <ac:picMk id="100" creationId="{228CF409-5D3C-4C11-8057-49C36773BCF6}"/>
          </ac:picMkLst>
        </pc:picChg>
        <pc:picChg chg="del mod">
          <ac:chgData name="Müller, Kurt (SI BP S TSS TR)" userId="e7e82c7e-80c6-42a5-ab71-24588885b7fe" providerId="ADAL" clId="{9FEA2841-5B76-4EDB-8984-1B2D4375FBAF}" dt="2021-07-21T09:16:06.924" v="1039" actId="478"/>
          <ac:picMkLst>
            <pc:docMk/>
            <pc:sldMk cId="1582216341" sldId="2580"/>
            <ac:picMk id="102" creationId="{3B0B3C47-3A9B-413B-842D-2318A48187A5}"/>
          </ac:picMkLst>
        </pc:picChg>
        <pc:picChg chg="mod">
          <ac:chgData name="Müller, Kurt (SI BP S TSS TR)" userId="e7e82c7e-80c6-42a5-ab71-24588885b7fe" providerId="ADAL" clId="{9FEA2841-5B76-4EDB-8984-1B2D4375FBAF}" dt="2021-07-21T09:16:33.907" v="1045" actId="1076"/>
          <ac:picMkLst>
            <pc:docMk/>
            <pc:sldMk cId="1582216341" sldId="2580"/>
            <ac:picMk id="104" creationId="{BE8130DF-6189-43B5-964A-1D059B7B9B4E}"/>
          </ac:picMkLst>
        </pc:picChg>
        <pc:picChg chg="mod">
          <ac:chgData name="Müller, Kurt (SI BP S TSS TR)" userId="e7e82c7e-80c6-42a5-ab71-24588885b7fe" providerId="ADAL" clId="{9FEA2841-5B76-4EDB-8984-1B2D4375FBAF}" dt="2021-07-21T09:16:38.066" v="1047" actId="1076"/>
          <ac:picMkLst>
            <pc:docMk/>
            <pc:sldMk cId="1582216341" sldId="2580"/>
            <ac:picMk id="106" creationId="{3C490367-991A-4B83-8B89-C11B481CE4F7}"/>
          </ac:picMkLst>
        </pc:picChg>
      </pc:sldChg>
      <pc:sldChg chg="addSp delSp modSp add del mod modAnim">
        <pc:chgData name="Müller, Kurt (SI BP S TSS TR)" userId="e7e82c7e-80c6-42a5-ab71-24588885b7fe" providerId="ADAL" clId="{9FEA2841-5B76-4EDB-8984-1B2D4375FBAF}" dt="2021-07-21T09:33:59.774" v="1418" actId="47"/>
        <pc:sldMkLst>
          <pc:docMk/>
          <pc:sldMk cId="675333067" sldId="2581"/>
        </pc:sldMkLst>
        <pc:spChg chg="del">
          <ac:chgData name="Müller, Kurt (SI BP S TSS TR)" userId="e7e82c7e-80c6-42a5-ab71-24588885b7fe" providerId="ADAL" clId="{9FEA2841-5B76-4EDB-8984-1B2D4375FBAF}" dt="2021-07-21T09:17:46.827" v="1051" actId="478"/>
          <ac:spMkLst>
            <pc:docMk/>
            <pc:sldMk cId="675333067" sldId="2581"/>
            <ac:spMk id="26" creationId="{D156A09B-5964-4879-BD5F-CD0C5FE89F5E}"/>
          </ac:spMkLst>
        </pc:spChg>
        <pc:spChg chg="del">
          <ac:chgData name="Müller, Kurt (SI BP S TSS TR)" userId="e7e82c7e-80c6-42a5-ab71-24588885b7fe" providerId="ADAL" clId="{9FEA2841-5B76-4EDB-8984-1B2D4375FBAF}" dt="2021-07-21T09:17:46.827" v="1051" actId="478"/>
          <ac:spMkLst>
            <pc:docMk/>
            <pc:sldMk cId="675333067" sldId="2581"/>
            <ac:spMk id="82" creationId="{D650E5B4-E691-4585-B7CE-0B8CCD3D74AE}"/>
          </ac:spMkLst>
        </pc:spChg>
        <pc:spChg chg="del">
          <ac:chgData name="Müller, Kurt (SI BP S TSS TR)" userId="e7e82c7e-80c6-42a5-ab71-24588885b7fe" providerId="ADAL" clId="{9FEA2841-5B76-4EDB-8984-1B2D4375FBAF}" dt="2021-07-21T09:17:46.827" v="1051" actId="478"/>
          <ac:spMkLst>
            <pc:docMk/>
            <pc:sldMk cId="675333067" sldId="2581"/>
            <ac:spMk id="83" creationId="{128BF1FF-3A83-4943-88CD-5563F1F857D5}"/>
          </ac:spMkLst>
        </pc:spChg>
        <pc:spChg chg="del">
          <ac:chgData name="Müller, Kurt (SI BP S TSS TR)" userId="e7e82c7e-80c6-42a5-ab71-24588885b7fe" providerId="ADAL" clId="{9FEA2841-5B76-4EDB-8984-1B2D4375FBAF}" dt="2021-07-21T09:17:46.827" v="1051" actId="478"/>
          <ac:spMkLst>
            <pc:docMk/>
            <pc:sldMk cId="675333067" sldId="2581"/>
            <ac:spMk id="84" creationId="{ABA1C98E-08D0-4C87-BB3C-71FF94D44677}"/>
          </ac:spMkLst>
        </pc:spChg>
        <pc:spChg chg="del mod">
          <ac:chgData name="Müller, Kurt (SI BP S TSS TR)" userId="e7e82c7e-80c6-42a5-ab71-24588885b7fe" providerId="ADAL" clId="{9FEA2841-5B76-4EDB-8984-1B2D4375FBAF}" dt="2021-07-21T09:17:46.827" v="1051" actId="478"/>
          <ac:spMkLst>
            <pc:docMk/>
            <pc:sldMk cId="675333067" sldId="2581"/>
            <ac:spMk id="85" creationId="{1211C9B7-C63A-463A-9B30-FEAFCD0CEFDB}"/>
          </ac:spMkLst>
        </pc:spChg>
        <pc:spChg chg="add mod">
          <ac:chgData name="Müller, Kurt (SI BP S TSS TR)" userId="e7e82c7e-80c6-42a5-ab71-24588885b7fe" providerId="ADAL" clId="{9FEA2841-5B76-4EDB-8984-1B2D4375FBAF}" dt="2021-07-21T09:33:12.203" v="1394"/>
          <ac:spMkLst>
            <pc:docMk/>
            <pc:sldMk cId="675333067" sldId="2581"/>
            <ac:spMk id="86" creationId="{914976CA-8CE5-43D8-84AC-907B366ED07A}"/>
          </ac:spMkLst>
        </pc:spChg>
        <pc:spChg chg="add mod">
          <ac:chgData name="Müller, Kurt (SI BP S TSS TR)" userId="e7e82c7e-80c6-42a5-ab71-24588885b7fe" providerId="ADAL" clId="{9FEA2841-5B76-4EDB-8984-1B2D4375FBAF}" dt="2021-07-21T09:33:12.203" v="1394"/>
          <ac:spMkLst>
            <pc:docMk/>
            <pc:sldMk cId="675333067" sldId="2581"/>
            <ac:spMk id="87" creationId="{5A6DA72C-8306-4560-91D6-A08605A877AC}"/>
          </ac:spMkLst>
        </pc:spChg>
        <pc:spChg chg="add mod">
          <ac:chgData name="Müller, Kurt (SI BP S TSS TR)" userId="e7e82c7e-80c6-42a5-ab71-24588885b7fe" providerId="ADAL" clId="{9FEA2841-5B76-4EDB-8984-1B2D4375FBAF}" dt="2021-07-21T09:33:12.203" v="1394"/>
          <ac:spMkLst>
            <pc:docMk/>
            <pc:sldMk cId="675333067" sldId="2581"/>
            <ac:spMk id="88" creationId="{74CB6B46-F1F0-484E-95D8-0F1EC123D222}"/>
          </ac:spMkLst>
        </pc:spChg>
        <pc:spChg chg="add mod">
          <ac:chgData name="Müller, Kurt (SI BP S TSS TR)" userId="e7e82c7e-80c6-42a5-ab71-24588885b7fe" providerId="ADAL" clId="{9FEA2841-5B76-4EDB-8984-1B2D4375FBAF}" dt="2021-07-21T09:33:12.203" v="1394"/>
          <ac:spMkLst>
            <pc:docMk/>
            <pc:sldMk cId="675333067" sldId="2581"/>
            <ac:spMk id="94" creationId="{386538CC-69E8-4664-BBDC-C919D87A08BE}"/>
          </ac:spMkLst>
        </pc:spChg>
        <pc:spChg chg="mod">
          <ac:chgData name="Müller, Kurt (SI BP S TSS TR)" userId="e7e82c7e-80c6-42a5-ab71-24588885b7fe" providerId="ADAL" clId="{9FEA2841-5B76-4EDB-8984-1B2D4375FBAF}" dt="2021-07-21T09:30:05.917" v="1214" actId="20577"/>
          <ac:spMkLst>
            <pc:docMk/>
            <pc:sldMk cId="675333067" sldId="2581"/>
            <ac:spMk id="96" creationId="{F58902F7-74F5-40D2-95E0-489AE3763F2D}"/>
          </ac:spMkLst>
        </pc:spChg>
        <pc:grpChg chg="del">
          <ac:chgData name="Müller, Kurt (SI BP S TSS TR)" userId="e7e82c7e-80c6-42a5-ab71-24588885b7fe" providerId="ADAL" clId="{9FEA2841-5B76-4EDB-8984-1B2D4375FBAF}" dt="2021-07-21T09:17:46.827" v="1051" actId="478"/>
          <ac:grpSpMkLst>
            <pc:docMk/>
            <pc:sldMk cId="675333067" sldId="2581"/>
            <ac:grpSpMk id="30" creationId="{26095A56-C188-401C-93D6-049EC5F2A529}"/>
          </ac:grpSpMkLst>
        </pc:grpChg>
        <pc:grpChg chg="del">
          <ac:chgData name="Müller, Kurt (SI BP S TSS TR)" userId="e7e82c7e-80c6-42a5-ab71-24588885b7fe" providerId="ADAL" clId="{9FEA2841-5B76-4EDB-8984-1B2D4375FBAF}" dt="2021-07-21T09:17:46.827" v="1051" actId="478"/>
          <ac:grpSpMkLst>
            <pc:docMk/>
            <pc:sldMk cId="675333067" sldId="2581"/>
            <ac:grpSpMk id="62" creationId="{64D61EB7-46B6-4490-96D4-8D2758C08332}"/>
          </ac:grpSpMkLst>
        </pc:grpChg>
        <pc:grpChg chg="del">
          <ac:chgData name="Müller, Kurt (SI BP S TSS TR)" userId="e7e82c7e-80c6-42a5-ab71-24588885b7fe" providerId="ADAL" clId="{9FEA2841-5B76-4EDB-8984-1B2D4375FBAF}" dt="2021-07-21T09:17:46.827" v="1051" actId="478"/>
          <ac:grpSpMkLst>
            <pc:docMk/>
            <pc:sldMk cId="675333067" sldId="2581"/>
            <ac:grpSpMk id="65" creationId="{AEB99628-C301-4BA9-BC0D-F254A795073C}"/>
          </ac:grpSpMkLst>
        </pc:grpChg>
        <pc:grpChg chg="del">
          <ac:chgData name="Müller, Kurt (SI BP S TSS TR)" userId="e7e82c7e-80c6-42a5-ab71-24588885b7fe" providerId="ADAL" clId="{9FEA2841-5B76-4EDB-8984-1B2D4375FBAF}" dt="2021-07-21T09:17:46.827" v="1051" actId="478"/>
          <ac:grpSpMkLst>
            <pc:docMk/>
            <pc:sldMk cId="675333067" sldId="2581"/>
            <ac:grpSpMk id="68" creationId="{632E14ED-A2BF-46A6-8851-0EA4707CD1E1}"/>
          </ac:grpSpMkLst>
        </pc:grpChg>
        <pc:grpChg chg="del">
          <ac:chgData name="Müller, Kurt (SI BP S TSS TR)" userId="e7e82c7e-80c6-42a5-ab71-24588885b7fe" providerId="ADAL" clId="{9FEA2841-5B76-4EDB-8984-1B2D4375FBAF}" dt="2021-07-21T09:17:46.827" v="1051" actId="478"/>
          <ac:grpSpMkLst>
            <pc:docMk/>
            <pc:sldMk cId="675333067" sldId="2581"/>
            <ac:grpSpMk id="71" creationId="{2A9CB0DE-9C0E-4F63-AD4C-61D6AA89D758}"/>
          </ac:grpSpMkLst>
        </pc:grpChg>
        <pc:grpChg chg="del">
          <ac:chgData name="Müller, Kurt (SI BP S TSS TR)" userId="e7e82c7e-80c6-42a5-ab71-24588885b7fe" providerId="ADAL" clId="{9FEA2841-5B76-4EDB-8984-1B2D4375FBAF}" dt="2021-07-21T09:17:46.827" v="1051" actId="478"/>
          <ac:grpSpMkLst>
            <pc:docMk/>
            <pc:sldMk cId="675333067" sldId="2581"/>
            <ac:grpSpMk id="90" creationId="{C2F69268-3DEF-4CE5-803F-3A34FBC4F0FB}"/>
          </ac:grpSpMkLst>
        </pc:grpChg>
        <pc:grpChg chg="del">
          <ac:chgData name="Müller, Kurt (SI BP S TSS TR)" userId="e7e82c7e-80c6-42a5-ab71-24588885b7fe" providerId="ADAL" clId="{9FEA2841-5B76-4EDB-8984-1B2D4375FBAF}" dt="2021-07-21T09:17:46.827" v="1051" actId="478"/>
          <ac:grpSpMkLst>
            <pc:docMk/>
            <pc:sldMk cId="675333067" sldId="2581"/>
            <ac:grpSpMk id="103" creationId="{06416681-DEBC-4A14-822A-5697981C90D8}"/>
          </ac:grpSpMkLst>
        </pc:grpChg>
        <pc:picChg chg="del">
          <ac:chgData name="Müller, Kurt (SI BP S TSS TR)" userId="e7e82c7e-80c6-42a5-ab71-24588885b7fe" providerId="ADAL" clId="{9FEA2841-5B76-4EDB-8984-1B2D4375FBAF}" dt="2021-07-21T09:17:42.822" v="1049" actId="478"/>
          <ac:picMkLst>
            <pc:docMk/>
            <pc:sldMk cId="675333067" sldId="2581"/>
            <ac:picMk id="22" creationId="{FF4B5B91-E9FC-44AF-ADB7-14D14FFBF479}"/>
          </ac:picMkLst>
        </pc:picChg>
        <pc:picChg chg="del">
          <ac:chgData name="Müller, Kurt (SI BP S TSS TR)" userId="e7e82c7e-80c6-42a5-ab71-24588885b7fe" providerId="ADAL" clId="{9FEA2841-5B76-4EDB-8984-1B2D4375FBAF}" dt="2021-07-21T09:17:46.827" v="1051" actId="478"/>
          <ac:picMkLst>
            <pc:docMk/>
            <pc:sldMk cId="675333067" sldId="2581"/>
            <ac:picMk id="81" creationId="{5AB840E0-2248-4107-92C2-25FC67544F77}"/>
          </ac:picMkLst>
        </pc:picChg>
        <pc:cxnChg chg="del">
          <ac:chgData name="Müller, Kurt (SI BP S TSS TR)" userId="e7e82c7e-80c6-42a5-ab71-24588885b7fe" providerId="ADAL" clId="{9FEA2841-5B76-4EDB-8984-1B2D4375FBAF}" dt="2021-07-21T09:17:46.827" v="1051" actId="478"/>
          <ac:cxnSpMkLst>
            <pc:docMk/>
            <pc:sldMk cId="675333067" sldId="2581"/>
            <ac:cxnSpMk id="74" creationId="{331E18E2-D2F5-4508-8383-3E6662817200}"/>
          </ac:cxnSpMkLst>
        </pc:cxnChg>
        <pc:cxnChg chg="del">
          <ac:chgData name="Müller, Kurt (SI BP S TSS TR)" userId="e7e82c7e-80c6-42a5-ab71-24588885b7fe" providerId="ADAL" clId="{9FEA2841-5B76-4EDB-8984-1B2D4375FBAF}" dt="2021-07-21T09:17:46.827" v="1051" actId="478"/>
          <ac:cxnSpMkLst>
            <pc:docMk/>
            <pc:sldMk cId="675333067" sldId="2581"/>
            <ac:cxnSpMk id="75" creationId="{2A9F0B9D-7C0D-40B8-80BD-1087CE1F03AB}"/>
          </ac:cxnSpMkLst>
        </pc:cxnChg>
        <pc:cxnChg chg="del">
          <ac:chgData name="Müller, Kurt (SI BP S TSS TR)" userId="e7e82c7e-80c6-42a5-ab71-24588885b7fe" providerId="ADAL" clId="{9FEA2841-5B76-4EDB-8984-1B2D4375FBAF}" dt="2021-07-21T09:17:46.827" v="1051" actId="478"/>
          <ac:cxnSpMkLst>
            <pc:docMk/>
            <pc:sldMk cId="675333067" sldId="2581"/>
            <ac:cxnSpMk id="76" creationId="{17C366B3-8454-40D6-AE3D-0FF1D1C2C073}"/>
          </ac:cxnSpMkLst>
        </pc:cxnChg>
        <pc:cxnChg chg="del">
          <ac:chgData name="Müller, Kurt (SI BP S TSS TR)" userId="e7e82c7e-80c6-42a5-ab71-24588885b7fe" providerId="ADAL" clId="{9FEA2841-5B76-4EDB-8984-1B2D4375FBAF}" dt="2021-07-21T09:17:46.827" v="1051" actId="478"/>
          <ac:cxnSpMkLst>
            <pc:docMk/>
            <pc:sldMk cId="675333067" sldId="2581"/>
            <ac:cxnSpMk id="77" creationId="{9CCA2FE4-0CC4-4FED-A5F3-ADC835FFB4FB}"/>
          </ac:cxnSpMkLst>
        </pc:cxnChg>
        <pc:cxnChg chg="del">
          <ac:chgData name="Müller, Kurt (SI BP S TSS TR)" userId="e7e82c7e-80c6-42a5-ab71-24588885b7fe" providerId="ADAL" clId="{9FEA2841-5B76-4EDB-8984-1B2D4375FBAF}" dt="2021-07-21T09:17:46.827" v="1051" actId="478"/>
          <ac:cxnSpMkLst>
            <pc:docMk/>
            <pc:sldMk cId="675333067" sldId="2581"/>
            <ac:cxnSpMk id="78" creationId="{0E0A23F9-E424-4F35-8692-4D192B721F77}"/>
          </ac:cxnSpMkLst>
        </pc:cxnChg>
        <pc:cxnChg chg="del">
          <ac:chgData name="Müller, Kurt (SI BP S TSS TR)" userId="e7e82c7e-80c6-42a5-ab71-24588885b7fe" providerId="ADAL" clId="{9FEA2841-5B76-4EDB-8984-1B2D4375FBAF}" dt="2021-07-21T09:17:46.827" v="1051" actId="478"/>
          <ac:cxnSpMkLst>
            <pc:docMk/>
            <pc:sldMk cId="675333067" sldId="2581"/>
            <ac:cxnSpMk id="79" creationId="{EE20C6FC-00DE-4CE4-AE53-AB86AE6F7828}"/>
          </ac:cxnSpMkLst>
        </pc:cxnChg>
        <pc:cxnChg chg="del">
          <ac:chgData name="Müller, Kurt (SI BP S TSS TR)" userId="e7e82c7e-80c6-42a5-ab71-24588885b7fe" providerId="ADAL" clId="{9FEA2841-5B76-4EDB-8984-1B2D4375FBAF}" dt="2021-07-21T09:17:46.827" v="1051" actId="478"/>
          <ac:cxnSpMkLst>
            <pc:docMk/>
            <pc:sldMk cId="675333067" sldId="2581"/>
            <ac:cxnSpMk id="80" creationId="{6BE6C004-E0DA-4959-BD95-93895F12AB89}"/>
          </ac:cxnSpMkLst>
        </pc:cxnChg>
        <pc:cxnChg chg="del">
          <ac:chgData name="Müller, Kurt (SI BP S TSS TR)" userId="e7e82c7e-80c6-42a5-ab71-24588885b7fe" providerId="ADAL" clId="{9FEA2841-5B76-4EDB-8984-1B2D4375FBAF}" dt="2021-07-21T09:17:46.827" v="1051" actId="478"/>
          <ac:cxnSpMkLst>
            <pc:docMk/>
            <pc:sldMk cId="675333067" sldId="2581"/>
            <ac:cxnSpMk id="89" creationId="{87787FAD-9786-4465-84EA-24F99D2E03FD}"/>
          </ac:cxnSpMkLst>
        </pc:cxnChg>
      </pc:sldChg>
      <pc:sldChg chg="addSp modSp add mod">
        <pc:chgData name="Müller, Kurt (SI BP S TSS TR)" userId="e7e82c7e-80c6-42a5-ab71-24588885b7fe" providerId="ADAL" clId="{9FEA2841-5B76-4EDB-8984-1B2D4375FBAF}" dt="2021-07-21T09:36:37.681" v="1434" actId="20577"/>
        <pc:sldMkLst>
          <pc:docMk/>
          <pc:sldMk cId="2389844200" sldId="2582"/>
        </pc:sldMkLst>
        <pc:spChg chg="add mod">
          <ac:chgData name="Müller, Kurt (SI BP S TSS TR)" userId="e7e82c7e-80c6-42a5-ab71-24588885b7fe" providerId="ADAL" clId="{9FEA2841-5B76-4EDB-8984-1B2D4375FBAF}" dt="2021-07-21T09:36:37.681" v="1434" actId="20577"/>
          <ac:spMkLst>
            <pc:docMk/>
            <pc:sldMk cId="2389844200" sldId="2582"/>
            <ac:spMk id="7" creationId="{F1C72932-A1AF-414C-AA2E-197BBE995B80}"/>
          </ac:spMkLst>
        </pc:spChg>
        <pc:spChg chg="mod">
          <ac:chgData name="Müller, Kurt (SI BP S TSS TR)" userId="e7e82c7e-80c6-42a5-ab71-24588885b7fe" providerId="ADAL" clId="{9FEA2841-5B76-4EDB-8984-1B2D4375FBAF}" dt="2021-07-21T09:28:43.618" v="1121" actId="20577"/>
          <ac:spMkLst>
            <pc:docMk/>
            <pc:sldMk cId="2389844200" sldId="2582"/>
            <ac:spMk id="96" creationId="{F58902F7-74F5-40D2-95E0-489AE3763F2D}"/>
          </ac:spMkLst>
        </pc:spChg>
      </pc:sldChg>
      <pc:sldChg chg="modSp add mod">
        <pc:chgData name="Müller, Kurt (SI BP S TSS TR)" userId="e7e82c7e-80c6-42a5-ab71-24588885b7fe" providerId="ADAL" clId="{9FEA2841-5B76-4EDB-8984-1B2D4375FBAF}" dt="2021-07-21T09:29:01.159" v="1152" actId="20577"/>
        <pc:sldMkLst>
          <pc:docMk/>
          <pc:sldMk cId="1402478112" sldId="2583"/>
        </pc:sldMkLst>
        <pc:spChg chg="mod">
          <ac:chgData name="Müller, Kurt (SI BP S TSS TR)" userId="e7e82c7e-80c6-42a5-ab71-24588885b7fe" providerId="ADAL" clId="{9FEA2841-5B76-4EDB-8984-1B2D4375FBAF}" dt="2021-07-21T09:29:01.159" v="1152" actId="20577"/>
          <ac:spMkLst>
            <pc:docMk/>
            <pc:sldMk cId="1402478112" sldId="2583"/>
            <ac:spMk id="96" creationId="{F58902F7-74F5-40D2-95E0-489AE3763F2D}"/>
          </ac:spMkLst>
        </pc:spChg>
      </pc:sldChg>
      <pc:sldChg chg="addSp modSp add del mod">
        <pc:chgData name="Müller, Kurt (SI BP S TSS TR)" userId="e7e82c7e-80c6-42a5-ab71-24588885b7fe" providerId="ADAL" clId="{9FEA2841-5B76-4EDB-8984-1B2D4375FBAF}" dt="2021-07-21T09:48:50.917" v="1554" actId="47"/>
        <pc:sldMkLst>
          <pc:docMk/>
          <pc:sldMk cId="632425367" sldId="2584"/>
        </pc:sldMkLst>
        <pc:spChg chg="add mod">
          <ac:chgData name="Müller, Kurt (SI BP S TSS TR)" userId="e7e82c7e-80c6-42a5-ab71-24588885b7fe" providerId="ADAL" clId="{9FEA2841-5B76-4EDB-8984-1B2D4375FBAF}" dt="2021-07-21T09:31:39.424" v="1325" actId="255"/>
          <ac:spMkLst>
            <pc:docMk/>
            <pc:sldMk cId="632425367" sldId="2584"/>
            <ac:spMk id="2" creationId="{CE9460E2-A04D-4F66-BAF0-FCE19DC25EB7}"/>
          </ac:spMkLst>
        </pc:spChg>
        <pc:spChg chg="add mod">
          <ac:chgData name="Müller, Kurt (SI BP S TSS TR)" userId="e7e82c7e-80c6-42a5-ab71-24588885b7fe" providerId="ADAL" clId="{9FEA2841-5B76-4EDB-8984-1B2D4375FBAF}" dt="2021-07-21T09:31:51.827" v="1354" actId="20577"/>
          <ac:spMkLst>
            <pc:docMk/>
            <pc:sldMk cId="632425367" sldId="2584"/>
            <ac:spMk id="8" creationId="{3744292D-DD5C-4D03-BFED-162993104A50}"/>
          </ac:spMkLst>
        </pc:spChg>
        <pc:spChg chg="add mod">
          <ac:chgData name="Müller, Kurt (SI BP S TSS TR)" userId="e7e82c7e-80c6-42a5-ab71-24588885b7fe" providerId="ADAL" clId="{9FEA2841-5B76-4EDB-8984-1B2D4375FBAF}" dt="2021-07-21T09:32:27.691" v="1383" actId="20577"/>
          <ac:spMkLst>
            <pc:docMk/>
            <pc:sldMk cId="632425367" sldId="2584"/>
            <ac:spMk id="9" creationId="{50282AF0-7F1C-4A5B-ADD1-D31C4EE53CCB}"/>
          </ac:spMkLst>
        </pc:spChg>
        <pc:spChg chg="add mod">
          <ac:chgData name="Müller, Kurt (SI BP S TSS TR)" userId="e7e82c7e-80c6-42a5-ab71-24588885b7fe" providerId="ADAL" clId="{9FEA2841-5B76-4EDB-8984-1B2D4375FBAF}" dt="2021-07-21T09:35:03.370" v="1421" actId="20577"/>
          <ac:spMkLst>
            <pc:docMk/>
            <pc:sldMk cId="632425367" sldId="2584"/>
            <ac:spMk id="10" creationId="{98E4B6BE-5B6C-4444-8498-B5A71CBE8D90}"/>
          </ac:spMkLst>
        </pc:spChg>
        <pc:spChg chg="add mod">
          <ac:chgData name="Müller, Kurt (SI BP S TSS TR)" userId="e7e82c7e-80c6-42a5-ab71-24588885b7fe" providerId="ADAL" clId="{9FEA2841-5B76-4EDB-8984-1B2D4375FBAF}" dt="2021-07-21T09:34:24.317" v="1420" actId="20577"/>
          <ac:spMkLst>
            <pc:docMk/>
            <pc:sldMk cId="632425367" sldId="2584"/>
            <ac:spMk id="11" creationId="{09BC95FB-7DB5-4C76-A574-C343B50E5C20}"/>
          </ac:spMkLst>
        </pc:spChg>
        <pc:spChg chg="mod">
          <ac:chgData name="Müller, Kurt (SI BP S TSS TR)" userId="e7e82c7e-80c6-42a5-ab71-24588885b7fe" providerId="ADAL" clId="{9FEA2841-5B76-4EDB-8984-1B2D4375FBAF}" dt="2021-07-21T09:33:57.758" v="1417" actId="20577"/>
          <ac:spMkLst>
            <pc:docMk/>
            <pc:sldMk cId="632425367" sldId="2584"/>
            <ac:spMk id="96" creationId="{F58902F7-74F5-40D2-95E0-489AE3763F2D}"/>
          </ac:spMkLst>
        </pc:spChg>
      </pc:sldChg>
      <pc:sldChg chg="addSp delSp modSp add del mod">
        <pc:chgData name="Müller, Kurt (SI BP S TSS TR)" userId="e7e82c7e-80c6-42a5-ab71-24588885b7fe" providerId="ADAL" clId="{9FEA2841-5B76-4EDB-8984-1B2D4375FBAF}" dt="2021-07-21T09:49:28.851" v="1555" actId="47"/>
        <pc:sldMkLst>
          <pc:docMk/>
          <pc:sldMk cId="1784539802" sldId="2585"/>
        </pc:sldMkLst>
        <pc:spChg chg="del">
          <ac:chgData name="Müller, Kurt (SI BP S TSS TR)" userId="e7e82c7e-80c6-42a5-ab71-24588885b7fe" providerId="ADAL" clId="{9FEA2841-5B76-4EDB-8984-1B2D4375FBAF}" dt="2021-07-21T09:42:18.982" v="1441" actId="478"/>
          <ac:spMkLst>
            <pc:docMk/>
            <pc:sldMk cId="1784539802" sldId="2585"/>
            <ac:spMk id="4" creationId="{27F415B5-B89D-43C5-82FE-486FDB760CC1}"/>
          </ac:spMkLst>
        </pc:spChg>
        <pc:spChg chg="add mod">
          <ac:chgData name="Müller, Kurt (SI BP S TSS TR)" userId="e7e82c7e-80c6-42a5-ab71-24588885b7fe" providerId="ADAL" clId="{9FEA2841-5B76-4EDB-8984-1B2D4375FBAF}" dt="2021-07-21T09:43:24.459" v="1462" actId="20577"/>
          <ac:spMkLst>
            <pc:docMk/>
            <pc:sldMk cId="1784539802" sldId="2585"/>
            <ac:spMk id="5" creationId="{54FEC67E-C2A6-4B7B-86E3-003D0424C846}"/>
          </ac:spMkLst>
        </pc:spChg>
        <pc:spChg chg="add del mod">
          <ac:chgData name="Müller, Kurt (SI BP S TSS TR)" userId="e7e82c7e-80c6-42a5-ab71-24588885b7fe" providerId="ADAL" clId="{9FEA2841-5B76-4EDB-8984-1B2D4375FBAF}" dt="2021-07-21T09:46:30.870" v="1538" actId="478"/>
          <ac:spMkLst>
            <pc:docMk/>
            <pc:sldMk cId="1784539802" sldId="2585"/>
            <ac:spMk id="6" creationId="{A881B137-ECB2-41DA-AAA8-DE4F9F98179E}"/>
          </ac:spMkLst>
        </pc:spChg>
        <pc:spChg chg="add mod">
          <ac:chgData name="Müller, Kurt (SI BP S TSS TR)" userId="e7e82c7e-80c6-42a5-ab71-24588885b7fe" providerId="ADAL" clId="{9FEA2841-5B76-4EDB-8984-1B2D4375FBAF}" dt="2021-07-21T09:45:10.324" v="1522" actId="20577"/>
          <ac:spMkLst>
            <pc:docMk/>
            <pc:sldMk cId="1784539802" sldId="2585"/>
            <ac:spMk id="136" creationId="{B985A3EC-9C86-4BBB-8B72-488E0E6567FA}"/>
          </ac:spMkLst>
        </pc:spChg>
        <pc:spChg chg="add mod">
          <ac:chgData name="Müller, Kurt (SI BP S TSS TR)" userId="e7e82c7e-80c6-42a5-ab71-24588885b7fe" providerId="ADAL" clId="{9FEA2841-5B76-4EDB-8984-1B2D4375FBAF}" dt="2021-07-21T09:43:32.638" v="1464" actId="20577"/>
          <ac:spMkLst>
            <pc:docMk/>
            <pc:sldMk cId="1784539802" sldId="2585"/>
            <ac:spMk id="137" creationId="{2594CDFE-C800-4A16-A3DC-A64191ED5F53}"/>
          </ac:spMkLst>
        </pc:spChg>
        <pc:spChg chg="add mod">
          <ac:chgData name="Müller, Kurt (SI BP S TSS TR)" userId="e7e82c7e-80c6-42a5-ab71-24588885b7fe" providerId="ADAL" clId="{9FEA2841-5B76-4EDB-8984-1B2D4375FBAF}" dt="2021-07-21T09:45:24.773" v="1524" actId="1076"/>
          <ac:spMkLst>
            <pc:docMk/>
            <pc:sldMk cId="1784539802" sldId="2585"/>
            <ac:spMk id="138" creationId="{977C21CB-CD01-4C59-985B-EEC9FF761E95}"/>
          </ac:spMkLst>
        </pc:spChg>
        <pc:spChg chg="add del mod">
          <ac:chgData name="Müller, Kurt (SI BP S TSS TR)" userId="e7e82c7e-80c6-42a5-ab71-24588885b7fe" providerId="ADAL" clId="{9FEA2841-5B76-4EDB-8984-1B2D4375FBAF}" dt="2021-07-21T09:45:15.351" v="1523" actId="478"/>
          <ac:spMkLst>
            <pc:docMk/>
            <pc:sldMk cId="1784539802" sldId="2585"/>
            <ac:spMk id="143" creationId="{7077736E-FCEE-4F25-B585-CDBD27F92D40}"/>
          </ac:spMkLst>
        </pc:spChg>
        <pc:spChg chg="add mod">
          <ac:chgData name="Müller, Kurt (SI BP S TSS TR)" userId="e7e82c7e-80c6-42a5-ab71-24588885b7fe" providerId="ADAL" clId="{9FEA2841-5B76-4EDB-8984-1B2D4375FBAF}" dt="2021-07-21T09:45:06.914" v="1518" actId="20577"/>
          <ac:spMkLst>
            <pc:docMk/>
            <pc:sldMk cId="1784539802" sldId="2585"/>
            <ac:spMk id="144" creationId="{7041A04E-9BBA-4BAC-9415-F4F04F76AF41}"/>
          </ac:spMkLst>
        </pc:spChg>
        <pc:spChg chg="add mod">
          <ac:chgData name="Müller, Kurt (SI BP S TSS TR)" userId="e7e82c7e-80c6-42a5-ab71-24588885b7fe" providerId="ADAL" clId="{9FEA2841-5B76-4EDB-8984-1B2D4375FBAF}" dt="2021-07-21T09:46:41.379" v="1542" actId="1076"/>
          <ac:spMkLst>
            <pc:docMk/>
            <pc:sldMk cId="1784539802" sldId="2585"/>
            <ac:spMk id="145" creationId="{BA18D289-4A74-4D5F-A4CC-4AD385457678}"/>
          </ac:spMkLst>
        </pc:spChg>
        <pc:spChg chg="add mod">
          <ac:chgData name="Müller, Kurt (SI BP S TSS TR)" userId="e7e82c7e-80c6-42a5-ab71-24588885b7fe" providerId="ADAL" clId="{9FEA2841-5B76-4EDB-8984-1B2D4375FBAF}" dt="2021-07-21T09:46:44.315" v="1543" actId="1076"/>
          <ac:spMkLst>
            <pc:docMk/>
            <pc:sldMk cId="1784539802" sldId="2585"/>
            <ac:spMk id="146" creationId="{1A610299-E6B3-459C-92EB-F0BA23FD73E7}"/>
          </ac:spMkLst>
        </pc:spChg>
        <pc:spChg chg="add mod">
          <ac:chgData name="Müller, Kurt (SI BP S TSS TR)" userId="e7e82c7e-80c6-42a5-ab71-24588885b7fe" providerId="ADAL" clId="{9FEA2841-5B76-4EDB-8984-1B2D4375FBAF}" dt="2021-07-21T09:46:57.071" v="1549" actId="6549"/>
          <ac:spMkLst>
            <pc:docMk/>
            <pc:sldMk cId="1784539802" sldId="2585"/>
            <ac:spMk id="147" creationId="{45523D43-D735-4461-8E13-19AEE0458110}"/>
          </ac:spMkLst>
        </pc:spChg>
        <pc:spChg chg="add mod">
          <ac:chgData name="Müller, Kurt (SI BP S TSS TR)" userId="e7e82c7e-80c6-42a5-ab71-24588885b7fe" providerId="ADAL" clId="{9FEA2841-5B76-4EDB-8984-1B2D4375FBAF}" dt="2021-07-21T09:47:00.501" v="1550" actId="571"/>
          <ac:spMkLst>
            <pc:docMk/>
            <pc:sldMk cId="1784539802" sldId="2585"/>
            <ac:spMk id="148" creationId="{BCBD0CD0-316A-4B9E-BE13-9747FB759FB5}"/>
          </ac:spMkLst>
        </pc:spChg>
        <pc:spChg chg="add mod">
          <ac:chgData name="Müller, Kurt (SI BP S TSS TR)" userId="e7e82c7e-80c6-42a5-ab71-24588885b7fe" providerId="ADAL" clId="{9FEA2841-5B76-4EDB-8984-1B2D4375FBAF}" dt="2021-07-21T09:48:33.676" v="1552" actId="1076"/>
          <ac:spMkLst>
            <pc:docMk/>
            <pc:sldMk cId="1784539802" sldId="2585"/>
            <ac:spMk id="149" creationId="{4E9F881F-4488-4529-88EA-4B35F17B6BCC}"/>
          </ac:spMkLst>
        </pc:spChg>
        <pc:spChg chg="add mod">
          <ac:chgData name="Müller, Kurt (SI BP S TSS TR)" userId="e7e82c7e-80c6-42a5-ab71-24588885b7fe" providerId="ADAL" clId="{9FEA2841-5B76-4EDB-8984-1B2D4375FBAF}" dt="2021-07-21T09:48:33.676" v="1552" actId="1076"/>
          <ac:spMkLst>
            <pc:docMk/>
            <pc:sldMk cId="1784539802" sldId="2585"/>
            <ac:spMk id="150" creationId="{DC72A21B-244D-48B0-A58D-170FE64EC5BB}"/>
          </ac:spMkLst>
        </pc:spChg>
        <pc:spChg chg="del">
          <ac:chgData name="Müller, Kurt (SI BP S TSS TR)" userId="e7e82c7e-80c6-42a5-ab71-24588885b7fe" providerId="ADAL" clId="{9FEA2841-5B76-4EDB-8984-1B2D4375FBAF}" dt="2021-07-21T09:42:16.539" v="1440" actId="478"/>
          <ac:spMkLst>
            <pc:docMk/>
            <pc:sldMk cId="1784539802" sldId="2585"/>
            <ac:spMk id="187" creationId="{D961F4C1-3016-4436-A129-96F862608A4F}"/>
          </ac:spMkLst>
        </pc:spChg>
        <pc:spChg chg="del">
          <ac:chgData name="Müller, Kurt (SI BP S TSS TR)" userId="e7e82c7e-80c6-42a5-ab71-24588885b7fe" providerId="ADAL" clId="{9FEA2841-5B76-4EDB-8984-1B2D4375FBAF}" dt="2021-07-21T09:42:16.539" v="1440" actId="478"/>
          <ac:spMkLst>
            <pc:docMk/>
            <pc:sldMk cId="1784539802" sldId="2585"/>
            <ac:spMk id="189" creationId="{01F2A7DE-B837-484D-A1D5-1AFB131B2A31}"/>
          </ac:spMkLst>
        </pc:spChg>
        <pc:spChg chg="del">
          <ac:chgData name="Müller, Kurt (SI BP S TSS TR)" userId="e7e82c7e-80c6-42a5-ab71-24588885b7fe" providerId="ADAL" clId="{9FEA2841-5B76-4EDB-8984-1B2D4375FBAF}" dt="2021-07-21T09:42:16.539" v="1440" actId="478"/>
          <ac:spMkLst>
            <pc:docMk/>
            <pc:sldMk cId="1784539802" sldId="2585"/>
            <ac:spMk id="190" creationId="{20A55C80-6B6A-4E7F-9E87-E47C4DB3B489}"/>
          </ac:spMkLst>
        </pc:spChg>
        <pc:spChg chg="del">
          <ac:chgData name="Müller, Kurt (SI BP S TSS TR)" userId="e7e82c7e-80c6-42a5-ab71-24588885b7fe" providerId="ADAL" clId="{9FEA2841-5B76-4EDB-8984-1B2D4375FBAF}" dt="2021-07-21T09:42:16.539" v="1440" actId="478"/>
          <ac:spMkLst>
            <pc:docMk/>
            <pc:sldMk cId="1784539802" sldId="2585"/>
            <ac:spMk id="191" creationId="{951DFB22-EDD9-4426-A801-B80A585E1F0B}"/>
          </ac:spMkLst>
        </pc:spChg>
        <pc:spChg chg="del">
          <ac:chgData name="Müller, Kurt (SI BP S TSS TR)" userId="e7e82c7e-80c6-42a5-ab71-24588885b7fe" providerId="ADAL" clId="{9FEA2841-5B76-4EDB-8984-1B2D4375FBAF}" dt="2021-07-21T09:42:16.539" v="1440" actId="478"/>
          <ac:spMkLst>
            <pc:docMk/>
            <pc:sldMk cId="1784539802" sldId="2585"/>
            <ac:spMk id="199" creationId="{29878D5C-7DCE-4CF4-B79E-7B4EACDB1C5A}"/>
          </ac:spMkLst>
        </pc:spChg>
        <pc:spChg chg="del">
          <ac:chgData name="Müller, Kurt (SI BP S TSS TR)" userId="e7e82c7e-80c6-42a5-ab71-24588885b7fe" providerId="ADAL" clId="{9FEA2841-5B76-4EDB-8984-1B2D4375FBAF}" dt="2021-07-21T09:42:16.539" v="1440" actId="478"/>
          <ac:spMkLst>
            <pc:docMk/>
            <pc:sldMk cId="1784539802" sldId="2585"/>
            <ac:spMk id="200" creationId="{8DAD6EAC-1C88-40FE-80C7-1B778E1F3E93}"/>
          </ac:spMkLst>
        </pc:spChg>
        <pc:spChg chg="del">
          <ac:chgData name="Müller, Kurt (SI BP S TSS TR)" userId="e7e82c7e-80c6-42a5-ab71-24588885b7fe" providerId="ADAL" clId="{9FEA2841-5B76-4EDB-8984-1B2D4375FBAF}" dt="2021-07-21T09:42:16.539" v="1440" actId="478"/>
          <ac:spMkLst>
            <pc:docMk/>
            <pc:sldMk cId="1784539802" sldId="2585"/>
            <ac:spMk id="201" creationId="{F22FFF72-F635-48AF-96F1-6E219E8E657B}"/>
          </ac:spMkLst>
        </pc:spChg>
        <pc:spChg chg="del">
          <ac:chgData name="Müller, Kurt (SI BP S TSS TR)" userId="e7e82c7e-80c6-42a5-ab71-24588885b7fe" providerId="ADAL" clId="{9FEA2841-5B76-4EDB-8984-1B2D4375FBAF}" dt="2021-07-21T09:42:16.539" v="1440" actId="478"/>
          <ac:spMkLst>
            <pc:docMk/>
            <pc:sldMk cId="1784539802" sldId="2585"/>
            <ac:spMk id="202" creationId="{5BB460E6-FDE4-475B-9942-8ACA0571A2C3}"/>
          </ac:spMkLst>
        </pc:spChg>
        <pc:spChg chg="del">
          <ac:chgData name="Müller, Kurt (SI BP S TSS TR)" userId="e7e82c7e-80c6-42a5-ab71-24588885b7fe" providerId="ADAL" clId="{9FEA2841-5B76-4EDB-8984-1B2D4375FBAF}" dt="2021-07-21T09:42:16.539" v="1440" actId="478"/>
          <ac:spMkLst>
            <pc:docMk/>
            <pc:sldMk cId="1784539802" sldId="2585"/>
            <ac:spMk id="203" creationId="{0C585F87-EE55-42B9-B97E-615745AC0EAD}"/>
          </ac:spMkLst>
        </pc:spChg>
        <pc:spChg chg="del">
          <ac:chgData name="Müller, Kurt (SI BP S TSS TR)" userId="e7e82c7e-80c6-42a5-ab71-24588885b7fe" providerId="ADAL" clId="{9FEA2841-5B76-4EDB-8984-1B2D4375FBAF}" dt="2021-07-21T09:42:16.539" v="1440" actId="478"/>
          <ac:spMkLst>
            <pc:docMk/>
            <pc:sldMk cId="1784539802" sldId="2585"/>
            <ac:spMk id="204" creationId="{AE406BA8-FC96-4507-81F6-1946B6780B72}"/>
          </ac:spMkLst>
        </pc:spChg>
        <pc:spChg chg="del">
          <ac:chgData name="Müller, Kurt (SI BP S TSS TR)" userId="e7e82c7e-80c6-42a5-ab71-24588885b7fe" providerId="ADAL" clId="{9FEA2841-5B76-4EDB-8984-1B2D4375FBAF}" dt="2021-07-21T09:42:16.539" v="1440" actId="478"/>
          <ac:spMkLst>
            <pc:docMk/>
            <pc:sldMk cId="1784539802" sldId="2585"/>
            <ac:spMk id="205" creationId="{4B6D80B8-416F-4C7D-98D3-68035BE794B1}"/>
          </ac:spMkLst>
        </pc:spChg>
        <pc:spChg chg="del">
          <ac:chgData name="Müller, Kurt (SI BP S TSS TR)" userId="e7e82c7e-80c6-42a5-ab71-24588885b7fe" providerId="ADAL" clId="{9FEA2841-5B76-4EDB-8984-1B2D4375FBAF}" dt="2021-07-21T09:42:16.539" v="1440" actId="478"/>
          <ac:spMkLst>
            <pc:docMk/>
            <pc:sldMk cId="1784539802" sldId="2585"/>
            <ac:spMk id="206" creationId="{19325E5B-6F71-4AC0-9FE2-E8598FC4D1CD}"/>
          </ac:spMkLst>
        </pc:spChg>
        <pc:spChg chg="del">
          <ac:chgData name="Müller, Kurt (SI BP S TSS TR)" userId="e7e82c7e-80c6-42a5-ab71-24588885b7fe" providerId="ADAL" clId="{9FEA2841-5B76-4EDB-8984-1B2D4375FBAF}" dt="2021-07-21T09:42:16.539" v="1440" actId="478"/>
          <ac:spMkLst>
            <pc:docMk/>
            <pc:sldMk cId="1784539802" sldId="2585"/>
            <ac:spMk id="207" creationId="{AD33A104-A813-4DCA-BC59-0D8FE261C9EA}"/>
          </ac:spMkLst>
        </pc:spChg>
        <pc:spChg chg="del">
          <ac:chgData name="Müller, Kurt (SI BP S TSS TR)" userId="e7e82c7e-80c6-42a5-ab71-24588885b7fe" providerId="ADAL" clId="{9FEA2841-5B76-4EDB-8984-1B2D4375FBAF}" dt="2021-07-21T09:42:16.539" v="1440" actId="478"/>
          <ac:spMkLst>
            <pc:docMk/>
            <pc:sldMk cId="1784539802" sldId="2585"/>
            <ac:spMk id="208" creationId="{26B4235E-43D0-44C8-B7CB-460DF1B7F856}"/>
          </ac:spMkLst>
        </pc:spChg>
        <pc:spChg chg="del">
          <ac:chgData name="Müller, Kurt (SI BP S TSS TR)" userId="e7e82c7e-80c6-42a5-ab71-24588885b7fe" providerId="ADAL" clId="{9FEA2841-5B76-4EDB-8984-1B2D4375FBAF}" dt="2021-07-21T09:42:16.539" v="1440" actId="478"/>
          <ac:spMkLst>
            <pc:docMk/>
            <pc:sldMk cId="1784539802" sldId="2585"/>
            <ac:spMk id="209" creationId="{EB444458-AB58-4C10-9AD0-0792011C5D4B}"/>
          </ac:spMkLst>
        </pc:spChg>
        <pc:spChg chg="del">
          <ac:chgData name="Müller, Kurt (SI BP S TSS TR)" userId="e7e82c7e-80c6-42a5-ab71-24588885b7fe" providerId="ADAL" clId="{9FEA2841-5B76-4EDB-8984-1B2D4375FBAF}" dt="2021-07-21T09:42:16.539" v="1440" actId="478"/>
          <ac:spMkLst>
            <pc:docMk/>
            <pc:sldMk cId="1784539802" sldId="2585"/>
            <ac:spMk id="210" creationId="{00CD73E1-4B2D-420D-A181-660400CA647D}"/>
          </ac:spMkLst>
        </pc:spChg>
        <pc:spChg chg="del">
          <ac:chgData name="Müller, Kurt (SI BP S TSS TR)" userId="e7e82c7e-80c6-42a5-ab71-24588885b7fe" providerId="ADAL" clId="{9FEA2841-5B76-4EDB-8984-1B2D4375FBAF}" dt="2021-07-21T09:42:16.539" v="1440" actId="478"/>
          <ac:spMkLst>
            <pc:docMk/>
            <pc:sldMk cId="1784539802" sldId="2585"/>
            <ac:spMk id="211" creationId="{0248C509-98AF-4B31-9032-FE798081412D}"/>
          </ac:spMkLst>
        </pc:spChg>
        <pc:spChg chg="del">
          <ac:chgData name="Müller, Kurt (SI BP S TSS TR)" userId="e7e82c7e-80c6-42a5-ab71-24588885b7fe" providerId="ADAL" clId="{9FEA2841-5B76-4EDB-8984-1B2D4375FBAF}" dt="2021-07-21T09:42:16.539" v="1440" actId="478"/>
          <ac:spMkLst>
            <pc:docMk/>
            <pc:sldMk cId="1784539802" sldId="2585"/>
            <ac:spMk id="212" creationId="{2612FBC6-C19E-4F04-9F56-D3C7AF9DCDFD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35" creationId="{BAC56717-5DF3-4D65-8224-114AD1CAD46E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36" creationId="{F55D036D-1F67-4395-83A9-938493F1A76C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37" creationId="{E65F615A-B158-4253-A751-C37C0BDE29E9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38" creationId="{696DE758-04AE-4281-9D69-D536C56392C3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39" creationId="{7A90E35F-9826-47CF-82A8-3207590D8EEC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40" creationId="{A5292E85-E5B2-4E5A-82F0-FA99AE5120FD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41" creationId="{540FC1F7-F270-4233-A6CF-B40DEB162087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42" creationId="{A7A32240-79E9-423F-B635-E3EFDAAC8998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43" creationId="{449E2054-EE5C-41D5-9F6E-872A693FB197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44" creationId="{E5CD9A35-F8FB-44E3-9D25-D28958FD6FDE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45" creationId="{360B6D81-69C3-4D33-B0B8-D3C4503D912F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46" creationId="{89C58CAC-BCC0-4E98-A54C-2CD8E6A49BBE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47" creationId="{B10EBA11-8CEE-442A-B99C-E05D55C91F2E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48" creationId="{2432641B-8829-401C-BA3E-81AFEB045A87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49" creationId="{4CC574EE-7431-43E3-BCF0-69727344C91E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50" creationId="{476E745C-0E9A-449A-ADF0-9FB5AF43EA9E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51" creationId="{DFF26D0D-20E3-48D3-AB34-D1334C09C406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52" creationId="{F75D90CC-5B68-4EBA-8FF0-55C0F766185C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53" creationId="{80890041-13DD-4852-85B5-2198B00A9531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54" creationId="{13E4EBC6-6271-49A9-81A4-583CB074EB06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55" creationId="{8DCAD5C4-6912-45A3-8D1C-4E75AC932411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56" creationId="{1EC32754-E8C7-4BE7-8FC0-26133149761B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57" creationId="{ED56DB00-8429-411C-A7C5-30A35F4C9181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58" creationId="{D6650105-7F35-4E66-AB10-D9DFE88DBC96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59" creationId="{C84E3E23-9161-453D-904B-B8893AE67457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60" creationId="{0BA1DBAC-E646-4C4D-99FF-BEDF3EA12C28}"/>
          </ac:spMkLst>
        </pc:spChg>
        <pc:spChg chg="mod">
          <ac:chgData name="Müller, Kurt (SI BP S TSS TR)" userId="e7e82c7e-80c6-42a5-ab71-24588885b7fe" providerId="ADAL" clId="{9FEA2841-5B76-4EDB-8984-1B2D4375FBAF}" dt="2021-07-21T09:42:06.096" v="1437" actId="1076"/>
          <ac:spMkLst>
            <pc:docMk/>
            <pc:sldMk cId="1784539802" sldId="2585"/>
            <ac:spMk id="261" creationId="{A979BB4D-D739-4956-B978-E8E4E471BCD0}"/>
          </ac:spMkLst>
        </pc:spChg>
        <pc:grpChg chg="del">
          <ac:chgData name="Müller, Kurt (SI BP S TSS TR)" userId="e7e82c7e-80c6-42a5-ab71-24588885b7fe" providerId="ADAL" clId="{9FEA2841-5B76-4EDB-8984-1B2D4375FBAF}" dt="2021-07-21T09:42:16.539" v="1440" actId="478"/>
          <ac:grpSpMkLst>
            <pc:docMk/>
            <pc:sldMk cId="1784539802" sldId="2585"/>
            <ac:grpSpMk id="213" creationId="{BB08FFEE-DBAA-4EF8-B4E2-28260625979D}"/>
          </ac:grpSpMkLst>
        </pc:grpChg>
        <pc:grpChg chg="del mod">
          <ac:chgData name="Müller, Kurt (SI BP S TSS TR)" userId="e7e82c7e-80c6-42a5-ab71-24588885b7fe" providerId="ADAL" clId="{9FEA2841-5B76-4EDB-8984-1B2D4375FBAF}" dt="2021-07-21T09:42:16.539" v="1440" actId="478"/>
          <ac:grpSpMkLst>
            <pc:docMk/>
            <pc:sldMk cId="1784539802" sldId="2585"/>
            <ac:grpSpMk id="226" creationId="{ACBA051D-38B6-4E31-8A51-730E80DE4C4E}"/>
          </ac:grpSpMkLst>
        </pc:grpChg>
        <pc:graphicFrameChg chg="del">
          <ac:chgData name="Müller, Kurt (SI BP S TSS TR)" userId="e7e82c7e-80c6-42a5-ab71-24588885b7fe" providerId="ADAL" clId="{9FEA2841-5B76-4EDB-8984-1B2D4375FBAF}" dt="2021-07-21T09:42:05.454" v="1436" actId="478"/>
          <ac:graphicFrameMkLst>
            <pc:docMk/>
            <pc:sldMk cId="1784539802" sldId="2585"/>
            <ac:graphicFrameMk id="1048" creationId="{2B8F322D-9305-4662-A67E-916DED4AEB03}"/>
          </ac:graphicFrameMkLst>
        </pc:graphicFrameChg>
        <pc:picChg chg="mod">
          <ac:chgData name="Müller, Kurt (SI BP S TSS TR)" userId="e7e82c7e-80c6-42a5-ab71-24588885b7fe" providerId="ADAL" clId="{9FEA2841-5B76-4EDB-8984-1B2D4375FBAF}" dt="2021-07-21T09:46:38.603" v="1541" actId="1076"/>
          <ac:picMkLst>
            <pc:docMk/>
            <pc:sldMk cId="1784539802" sldId="2585"/>
            <ac:picMk id="186" creationId="{AA1F9A0C-1963-4335-9CBE-7DF1A48B16F0}"/>
          </ac:picMkLst>
        </pc:picChg>
        <pc:cxnChg chg="mod">
          <ac:chgData name="Müller, Kurt (SI BP S TSS TR)" userId="e7e82c7e-80c6-42a5-ab71-24588885b7fe" providerId="ADAL" clId="{9FEA2841-5B76-4EDB-8984-1B2D4375FBAF}" dt="2021-07-21T09:42:06.096" v="1437" actId="1076"/>
          <ac:cxnSpMkLst>
            <pc:docMk/>
            <pc:sldMk cId="1784539802" sldId="2585"/>
            <ac:cxnSpMk id="262" creationId="{788D03E7-5029-47D5-A707-D1F2D46E1261}"/>
          </ac:cxnSpMkLst>
        </pc:cxnChg>
        <pc:cxnChg chg="mod">
          <ac:chgData name="Müller, Kurt (SI BP S TSS TR)" userId="e7e82c7e-80c6-42a5-ab71-24588885b7fe" providerId="ADAL" clId="{9FEA2841-5B76-4EDB-8984-1B2D4375FBAF}" dt="2021-07-21T09:42:06.096" v="1437" actId="1076"/>
          <ac:cxnSpMkLst>
            <pc:docMk/>
            <pc:sldMk cId="1784539802" sldId="2585"/>
            <ac:cxnSpMk id="263" creationId="{C937AA1E-5ADD-4AB1-8802-78ACE98D0503}"/>
          </ac:cxnSpMkLst>
        </pc:cxnChg>
      </pc:sldChg>
      <pc:sldChg chg="addSp delSp modSp add mod">
        <pc:chgData name="Müller, Kurt (SI BP S TSS TR)" userId="e7e82c7e-80c6-42a5-ab71-24588885b7fe" providerId="ADAL" clId="{9FEA2841-5B76-4EDB-8984-1B2D4375FBAF}" dt="2021-07-21T09:55:25.035" v="1621" actId="1076"/>
        <pc:sldMkLst>
          <pc:docMk/>
          <pc:sldMk cId="342781692" sldId="2586"/>
        </pc:sldMkLst>
        <pc:spChg chg="add mod">
          <ac:chgData name="Müller, Kurt (SI BP S TSS TR)" userId="e7e82c7e-80c6-42a5-ab71-24588885b7fe" providerId="ADAL" clId="{9FEA2841-5B76-4EDB-8984-1B2D4375FBAF}" dt="2021-07-21T09:53:52.715" v="1605" actId="571"/>
          <ac:spMkLst>
            <pc:docMk/>
            <pc:sldMk cId="342781692" sldId="2586"/>
            <ac:spMk id="80" creationId="{9BFCC239-D3D0-4F0C-8B05-6DBA47D39C04}"/>
          </ac:spMkLst>
        </pc:spChg>
        <pc:spChg chg="add mod">
          <ac:chgData name="Müller, Kurt (SI BP S TSS TR)" userId="e7e82c7e-80c6-42a5-ab71-24588885b7fe" providerId="ADAL" clId="{9FEA2841-5B76-4EDB-8984-1B2D4375FBAF}" dt="2021-07-21T09:53:52.715" v="1605" actId="571"/>
          <ac:spMkLst>
            <pc:docMk/>
            <pc:sldMk cId="342781692" sldId="2586"/>
            <ac:spMk id="81" creationId="{2164813D-BF56-44F1-B65F-AE93D359A570}"/>
          </ac:spMkLst>
        </pc:spChg>
        <pc:spChg chg="add mod">
          <ac:chgData name="Müller, Kurt (SI BP S TSS TR)" userId="e7e82c7e-80c6-42a5-ab71-24588885b7fe" providerId="ADAL" clId="{9FEA2841-5B76-4EDB-8984-1B2D4375FBAF}" dt="2021-07-21T09:54:39.180" v="1613" actId="571"/>
          <ac:spMkLst>
            <pc:docMk/>
            <pc:sldMk cId="342781692" sldId="2586"/>
            <ac:spMk id="87" creationId="{E29FF5ED-9B5E-425D-8ABC-EE65841B8EB3}"/>
          </ac:spMkLst>
        </pc:spChg>
        <pc:spChg chg="add mod">
          <ac:chgData name="Müller, Kurt (SI BP S TSS TR)" userId="e7e82c7e-80c6-42a5-ab71-24588885b7fe" providerId="ADAL" clId="{9FEA2841-5B76-4EDB-8984-1B2D4375FBAF}" dt="2021-07-21T09:54:39.180" v="1613" actId="571"/>
          <ac:spMkLst>
            <pc:docMk/>
            <pc:sldMk cId="342781692" sldId="2586"/>
            <ac:spMk id="88" creationId="{51F70398-00BC-4885-AAA5-F1449AFF31F4}"/>
          </ac:spMkLst>
        </pc:spChg>
        <pc:spChg chg="mod">
          <ac:chgData name="Müller, Kurt (SI BP S TSS TR)" userId="e7e82c7e-80c6-42a5-ab71-24588885b7fe" providerId="ADAL" clId="{9FEA2841-5B76-4EDB-8984-1B2D4375FBAF}" dt="2021-07-21T09:54:30.267" v="1612" actId="1076"/>
          <ac:spMkLst>
            <pc:docMk/>
            <pc:sldMk cId="342781692" sldId="2586"/>
            <ac:spMk id="144" creationId="{7041A04E-9BBA-4BAC-9415-F4F04F76AF41}"/>
          </ac:spMkLst>
        </pc:spChg>
        <pc:spChg chg="mod">
          <ac:chgData name="Müller, Kurt (SI BP S TSS TR)" userId="e7e82c7e-80c6-42a5-ab71-24588885b7fe" providerId="ADAL" clId="{9FEA2841-5B76-4EDB-8984-1B2D4375FBAF}" dt="2021-07-21T09:53:04.575" v="1603" actId="6549"/>
          <ac:spMkLst>
            <pc:docMk/>
            <pc:sldMk cId="342781692" sldId="2586"/>
            <ac:spMk id="147" creationId="{45523D43-D735-4461-8E13-19AEE0458110}"/>
          </ac:spMkLst>
        </pc:spChg>
        <pc:spChg chg="del">
          <ac:chgData name="Müller, Kurt (SI BP S TSS TR)" userId="e7e82c7e-80c6-42a5-ab71-24588885b7fe" providerId="ADAL" clId="{9FEA2841-5B76-4EDB-8984-1B2D4375FBAF}" dt="2021-07-21T09:52:32.838" v="1556" actId="478"/>
          <ac:spMkLst>
            <pc:docMk/>
            <pc:sldMk cId="342781692" sldId="2586"/>
            <ac:spMk id="148" creationId="{BCBD0CD0-316A-4B9E-BE13-9747FB759FB5}"/>
          </ac:spMkLst>
        </pc:spChg>
        <pc:cxnChg chg="add del mod">
          <ac:chgData name="Müller, Kurt (SI BP S TSS TR)" userId="e7e82c7e-80c6-42a5-ab71-24588885b7fe" providerId="ADAL" clId="{9FEA2841-5B76-4EDB-8984-1B2D4375FBAF}" dt="2021-07-21T09:54:19.940" v="1611" actId="478"/>
          <ac:cxnSpMkLst>
            <pc:docMk/>
            <pc:sldMk cId="342781692" sldId="2586"/>
            <ac:cxnSpMk id="6" creationId="{68F01CA8-407F-494F-95B2-5AB4CDD20174}"/>
          </ac:cxnSpMkLst>
        </pc:cxnChg>
        <pc:cxnChg chg="add mod">
          <ac:chgData name="Müller, Kurt (SI BP S TSS TR)" userId="e7e82c7e-80c6-42a5-ab71-24588885b7fe" providerId="ADAL" clId="{9FEA2841-5B76-4EDB-8984-1B2D4375FBAF}" dt="2021-07-21T09:54:55.812" v="1616" actId="1076"/>
          <ac:cxnSpMkLst>
            <pc:docMk/>
            <pc:sldMk cId="342781692" sldId="2586"/>
            <ac:cxnSpMk id="84" creationId="{B2759B30-FA28-4CB2-83E5-0C098A6C1FA2}"/>
          </ac:cxnSpMkLst>
        </pc:cxnChg>
        <pc:cxnChg chg="add mod">
          <ac:chgData name="Müller, Kurt (SI BP S TSS TR)" userId="e7e82c7e-80c6-42a5-ab71-24588885b7fe" providerId="ADAL" clId="{9FEA2841-5B76-4EDB-8984-1B2D4375FBAF}" dt="2021-07-21T09:54:54.011" v="1615" actId="1076"/>
          <ac:cxnSpMkLst>
            <pc:docMk/>
            <pc:sldMk cId="342781692" sldId="2586"/>
            <ac:cxnSpMk id="86" creationId="{4BD36360-DDD9-4F6F-8DCB-5C7766BD5C43}"/>
          </ac:cxnSpMkLst>
        </pc:cxnChg>
        <pc:cxnChg chg="add mod">
          <ac:chgData name="Müller, Kurt (SI BP S TSS TR)" userId="e7e82c7e-80c6-42a5-ab71-24588885b7fe" providerId="ADAL" clId="{9FEA2841-5B76-4EDB-8984-1B2D4375FBAF}" dt="2021-07-21T09:55:20.330" v="1618" actId="1076"/>
          <ac:cxnSpMkLst>
            <pc:docMk/>
            <pc:sldMk cId="342781692" sldId="2586"/>
            <ac:cxnSpMk id="89" creationId="{8DB017D6-3452-40CC-A5AF-246084C28B71}"/>
          </ac:cxnSpMkLst>
        </pc:cxnChg>
        <pc:cxnChg chg="add mod">
          <ac:chgData name="Müller, Kurt (SI BP S TSS TR)" userId="e7e82c7e-80c6-42a5-ab71-24588885b7fe" providerId="ADAL" clId="{9FEA2841-5B76-4EDB-8984-1B2D4375FBAF}" dt="2021-07-21T09:55:25.035" v="1621" actId="1076"/>
          <ac:cxnSpMkLst>
            <pc:docMk/>
            <pc:sldMk cId="342781692" sldId="2586"/>
            <ac:cxnSpMk id="90" creationId="{72B72F4E-9AC8-4900-90F0-CDCF53C7153D}"/>
          </ac:cxnSpMkLst>
        </pc:cxnChg>
      </pc:sldChg>
      <pc:sldMasterChg chg="modSp mod">
        <pc:chgData name="Müller, Kurt (SI BP S TSS TR)" userId="e7e82c7e-80c6-42a5-ab71-24588885b7fe" providerId="ADAL" clId="{9FEA2841-5B76-4EDB-8984-1B2D4375FBAF}" dt="2021-07-21T09:05:08.662" v="822" actId="13926"/>
        <pc:sldMasterMkLst>
          <pc:docMk/>
          <pc:sldMasterMk cId="0" sldId="2147483669"/>
        </pc:sldMasterMkLst>
        <pc:graphicFrameChg chg="modGraphic">
          <ac:chgData name="Müller, Kurt (SI BP S TSS TR)" userId="e7e82c7e-80c6-42a5-ab71-24588885b7fe" providerId="ADAL" clId="{9FEA2841-5B76-4EDB-8984-1B2D4375FBAF}" dt="2021-07-21T09:05:08.662" v="822" actId="13926"/>
          <ac:graphicFrameMkLst>
            <pc:docMk/>
            <pc:sldMasterMk cId="0" sldId="2147483669"/>
            <ac:graphicFrameMk id="47" creationId="{A634B162-C6F9-49DC-B798-6461245F51A5}"/>
          </ac:graphicFrameMkLst>
        </pc:graphicFrame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6797675" cy="677481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6018" tIns="43009" rIns="86018" bIns="43009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3111548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t" anchorCtr="0" compatLnSpc="1">
            <a:prstTxWarp prst="textNoShape">
              <a:avLst/>
            </a:prstTxWarp>
          </a:bodyPr>
          <a:lstStyle>
            <a:lvl1pPr defTabSz="887057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686129" y="1"/>
            <a:ext cx="3111547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t" anchorCtr="0" compatLnSpc="1">
            <a:prstTxWarp prst="textNoShape">
              <a:avLst/>
            </a:prstTxWarp>
          </a:bodyPr>
          <a:lstStyle>
            <a:lvl1pPr algn="r" defTabSz="887057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90812"/>
            <a:ext cx="3111548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b" anchorCtr="0" compatLnSpc="1">
            <a:prstTxWarp prst="textNoShape">
              <a:avLst/>
            </a:prstTxWarp>
          </a:bodyPr>
          <a:lstStyle>
            <a:lvl1pPr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686129" y="9390812"/>
            <a:ext cx="3111547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b" anchorCtr="0" compatLnSpc="1">
            <a:prstTxWarp prst="textNoShape">
              <a:avLst/>
            </a:prstTxWarp>
          </a:bodyPr>
          <a:lstStyle>
            <a:lvl1pPr algn="r"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>
                <a:latin typeface="Arial" pitchFamily="34" charset="0"/>
              </a:rPr>
              <a:t>Handzettel </a:t>
            </a:r>
            <a:fld id="{BFC713D8-7968-482B-A79F-9C586FE5053A}" type="slidenum">
              <a:rPr lang="de-DE">
                <a:latin typeface="Arial" pitchFamily="34" charset="0"/>
              </a:rPr>
              <a:pPr/>
              <a:t>‹Nr.›</a:t>
            </a:fld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8505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3111548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t" anchorCtr="0" compatLnSpc="1">
            <a:prstTxWarp prst="textNoShape">
              <a:avLst/>
            </a:prstTxWarp>
          </a:bodyPr>
          <a:lstStyle>
            <a:lvl1pPr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686128" y="1"/>
            <a:ext cx="3110027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t" anchorCtr="0" compatLnSpc="1">
            <a:prstTxWarp prst="textNoShape">
              <a:avLst/>
            </a:prstTxWarp>
          </a:bodyPr>
          <a:lstStyle>
            <a:lvl1pPr algn="r"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" y="746125"/>
            <a:ext cx="6615113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28008" y="4677699"/>
            <a:ext cx="6341659" cy="442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90811"/>
            <a:ext cx="3111548" cy="534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b" anchorCtr="0" compatLnSpc="1">
            <a:prstTxWarp prst="textNoShape">
              <a:avLst/>
            </a:prstTxWarp>
          </a:bodyPr>
          <a:lstStyle>
            <a:lvl1pPr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86128" y="9390811"/>
            <a:ext cx="3110027" cy="534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9741" tIns="139741" rIns="139741" bIns="139741" numCol="1" anchor="b" anchorCtr="0" compatLnSpc="1">
            <a:prstTxWarp prst="textNoShape">
              <a:avLst/>
            </a:prstTxWarp>
          </a:bodyPr>
          <a:lstStyle>
            <a:lvl1pPr algn="r" defTabSz="887057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421924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000" kern="1400">
              <a:solidFill>
                <a:schemeClr val="tx1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756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</a:t>
            </a:fld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72450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2</a:t>
            </a:fld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73567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2">
            <a:extLst>
              <a:ext uri="{FF2B5EF4-FFF2-40B4-BE49-F238E27FC236}">
                <a16:creationId xmlns:a16="http://schemas.microsoft.com/office/drawing/2014/main" id="{31C89E18-D5BA-40BE-A833-56FAEEB615A4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500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500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500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500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CH" altLang="en-US" sz="1200"/>
              <a:t>Text</a:t>
            </a:r>
          </a:p>
        </p:txBody>
      </p:sp>
      <p:sp>
        <p:nvSpPr>
          <p:cNvPr id="9219" name="Rectangle 14">
            <a:extLst>
              <a:ext uri="{FF2B5EF4-FFF2-40B4-BE49-F238E27FC236}">
                <a16:creationId xmlns:a16="http://schemas.microsoft.com/office/drawing/2014/main" id="{1B22006A-566B-461C-81F1-0B86F5267C1B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500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500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500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500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CH" altLang="en-US" sz="1200"/>
              <a:t>Building Technologies / Department</a:t>
            </a:r>
          </a:p>
        </p:txBody>
      </p:sp>
      <p:sp>
        <p:nvSpPr>
          <p:cNvPr id="9220" name="Rectangle 15">
            <a:extLst>
              <a:ext uri="{FF2B5EF4-FFF2-40B4-BE49-F238E27FC236}">
                <a16:creationId xmlns:a16="http://schemas.microsoft.com/office/drawing/2014/main" id="{1F31552E-7F72-4A02-9A6B-A50FC8A9EF5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500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500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500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500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CEC980B-E703-4B67-9425-F52E2A6284F5}" type="slidenum">
              <a:rPr lang="de-CH" altLang="en-US" sz="1200"/>
              <a:pPr eaLnBrk="1" hangingPunct="1"/>
              <a:t>14</a:t>
            </a:fld>
            <a:endParaRPr lang="de-CH" altLang="en-US" sz="1200"/>
          </a:p>
        </p:txBody>
      </p:sp>
      <p:sp>
        <p:nvSpPr>
          <p:cNvPr id="9221" name="Rectangle 2">
            <a:extLst>
              <a:ext uri="{FF2B5EF4-FFF2-40B4-BE49-F238E27FC236}">
                <a16:creationId xmlns:a16="http://schemas.microsoft.com/office/drawing/2014/main" id="{AFCA3354-6424-4C22-A469-5231081D841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2" name="Rectangle 3">
            <a:extLst>
              <a:ext uri="{FF2B5EF4-FFF2-40B4-BE49-F238E27FC236}">
                <a16:creationId xmlns:a16="http://schemas.microsoft.com/office/drawing/2014/main" id="{6AC604E3-4EE4-4664-8993-1AD6091749D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068C470-7290-4F7D-AE34-FF85E39AC41D}"/>
              </a:ext>
            </a:extLst>
          </p:cNvPr>
          <p:cNvCxnSpPr/>
          <p:nvPr userDrawn="1"/>
        </p:nvCxnSpPr>
        <p:spPr bwMode="auto">
          <a:xfrm>
            <a:off x="12195175" y="-1296525"/>
            <a:ext cx="0" cy="945105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val="33709844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  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2425220" y="1199198"/>
            <a:ext cx="5470688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1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34" marR="0" indent="-179946" algn="l" defTabSz="9141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667" marR="0" indent="-179946" algn="l" defTabSz="9141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002" marR="0" indent="-179946" algn="l" defTabSz="9141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784" marR="0" indent="-179946" algn="l" defTabSz="9141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2012" y="1440000"/>
            <a:ext cx="5470576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2012" y="3888000"/>
            <a:ext cx="5470576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514975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2685163" y="866775"/>
            <a:ext cx="5380340" cy="4681538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670146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ags" Target="../tags/tag2.xml"/><Relationship Id="rId4" Type="http://schemas.openxmlformats.org/officeDocument/2006/relationships/theme" Target="../theme/theme1.xml"/><Relationship Id="rId9" Type="http://schemas.openxmlformats.org/officeDocument/2006/relationships/image" Target="../media/image4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F35B8140-431B-4564-A814-5FE9C50E80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7225"/>
          <a:stretch/>
        </p:blipFill>
        <p:spPr>
          <a:xfrm>
            <a:off x="-1571" y="-1"/>
            <a:ext cx="2162645" cy="1133745"/>
          </a:xfrm>
          <a:prstGeom prst="rect">
            <a:avLst/>
          </a:prstGeom>
          <a:gradFill>
            <a:gsLst>
              <a:gs pos="58000">
                <a:srgbClr val="00315F"/>
              </a:gs>
              <a:gs pos="6000">
                <a:srgbClr val="00022B"/>
              </a:gs>
              <a:gs pos="100000">
                <a:srgbClr val="0080B6"/>
              </a:gs>
            </a:gsLst>
            <a:lin ang="0" scaled="0"/>
          </a:gradFill>
          <a:ln>
            <a:noFill/>
          </a:ln>
          <a:effectLst/>
        </p:spPr>
      </p:pic>
      <p:sp>
        <p:nvSpPr>
          <p:cNvPr id="43" name="Rechteck 25">
            <a:extLst>
              <a:ext uri="{FF2B5EF4-FFF2-40B4-BE49-F238E27FC236}">
                <a16:creationId xmlns:a16="http://schemas.microsoft.com/office/drawing/2014/main" id="{938A2358-3D1F-4D7E-9741-6B2D91AE4A67}"/>
              </a:ext>
            </a:extLst>
          </p:cNvPr>
          <p:cNvSpPr/>
          <p:nvPr userDrawn="1"/>
        </p:nvSpPr>
        <p:spPr bwMode="auto">
          <a:xfrm>
            <a:off x="1074" y="466600"/>
            <a:ext cx="2160000" cy="6391400"/>
          </a:xfrm>
          <a:prstGeom prst="rect">
            <a:avLst/>
          </a:prstGeom>
          <a:solidFill>
            <a:srgbClr val="F3F3F0"/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  <a:latin typeface="Siemens Sans" pitchFamily="2" charset="0"/>
            </a:endParaRPr>
          </a:p>
        </p:txBody>
      </p:sp>
      <p:sp>
        <p:nvSpPr>
          <p:cNvPr id="73" name="cdtText Box 4 Id114692">
            <a:extLst>
              <a:ext uri="{FF2B5EF4-FFF2-40B4-BE49-F238E27FC236}">
                <a16:creationId xmlns:a16="http://schemas.microsoft.com/office/drawing/2014/main" id="{B81D0F7B-0E8F-422E-8B58-86A9FF11FB2E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0" y="6390000"/>
            <a:ext cx="2160000" cy="468000"/>
          </a:xfrm>
          <a:prstGeom prst="rect">
            <a:avLst/>
          </a:prstGeom>
          <a:gradFill>
            <a:gsLst>
              <a:gs pos="50000">
                <a:srgbClr val="00315F"/>
              </a:gs>
              <a:gs pos="0">
                <a:srgbClr val="00022B"/>
              </a:gs>
              <a:gs pos="100000">
                <a:srgbClr val="0080B6"/>
              </a:gs>
            </a:gsLst>
            <a:lin ang="16200000" scaled="0"/>
          </a:gradFill>
          <a:ln>
            <a:noFill/>
          </a:ln>
          <a:effectLst/>
        </p:spPr>
        <p:txBody>
          <a:bodyPr wrap="square" lIns="143963" tIns="143963" rIns="143963" bIns="143963" numCol="1" spcCol="72000" rtlCol="0" anchor="ctr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pPr algn="l">
              <a:lnSpc>
                <a:spcPct val="100000"/>
              </a:lnSpc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65" name="cdtText Box 4 Id114692">
            <a:extLst>
              <a:ext uri="{FF2B5EF4-FFF2-40B4-BE49-F238E27FC236}">
                <a16:creationId xmlns:a16="http://schemas.microsoft.com/office/drawing/2014/main" id="{B07A17E1-3CA9-4CD1-B6E9-09CBC9BB71BA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0" y="0"/>
            <a:ext cx="2160000" cy="468000"/>
          </a:xfrm>
          <a:prstGeom prst="rect">
            <a:avLst/>
          </a:prstGeom>
          <a:gradFill>
            <a:gsLst>
              <a:gs pos="60000">
                <a:srgbClr val="00315F"/>
              </a:gs>
              <a:gs pos="23000">
                <a:srgbClr val="00022B"/>
              </a:gs>
              <a:gs pos="100000">
                <a:srgbClr val="0080B6"/>
              </a:gs>
            </a:gsLst>
            <a:lin ang="5400000" scaled="0"/>
          </a:gradFill>
          <a:ln>
            <a:noFill/>
          </a:ln>
          <a:effectLst/>
        </p:spPr>
        <p:txBody>
          <a:bodyPr wrap="square" lIns="143963" tIns="143963" rIns="143963" bIns="143963" numCol="1" spcCol="72000" rtlCol="0" anchor="ctr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pPr algn="l">
              <a:lnSpc>
                <a:spcPct val="100000"/>
              </a:lnSpc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47" name="Table 46">
            <a:extLst>
              <a:ext uri="{FF2B5EF4-FFF2-40B4-BE49-F238E27FC236}">
                <a16:creationId xmlns:a16="http://schemas.microsoft.com/office/drawing/2014/main" id="{A634B162-C6F9-49DC-B798-6461245F51A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54479346"/>
              </p:ext>
            </p:extLst>
          </p:nvPr>
        </p:nvGraphicFramePr>
        <p:xfrm>
          <a:off x="17503" y="472937"/>
          <a:ext cx="2122193" cy="58659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22193">
                  <a:extLst>
                    <a:ext uri="{9D8B030D-6E8A-4147-A177-3AD203B41FA5}">
                      <a16:colId xmlns:a16="http://schemas.microsoft.com/office/drawing/2014/main" val="1040045700"/>
                    </a:ext>
                  </a:extLst>
                </a:gridCol>
              </a:tblGrid>
              <a:tr h="18103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ts val="132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Introduction</a:t>
                      </a: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0840654"/>
                  </a:ext>
                </a:extLst>
              </a:tr>
              <a:tr h="18297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latin typeface="+mn-lt"/>
                        </a:rPr>
                        <a:t>– </a:t>
                      </a:r>
                      <a:r>
                        <a:rPr lang="en-US" sz="1100" u="none" strike="noStrike" kern="120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</a:t>
                      </a:r>
                      <a:r>
                        <a:rPr lang="en-US" sz="1100" u="none" strike="noStrike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roduct line / Tools</a:t>
                      </a:r>
                      <a:endParaRPr lang="en-US" sz="1100" u="none" strike="noStrike" kern="1200">
                        <a:solidFill>
                          <a:schemeClr val="tx2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4887946"/>
                  </a:ext>
                </a:extLst>
              </a:tr>
              <a:tr h="20532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ts val="19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SAPRO</a:t>
                      </a: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9433187"/>
                  </a:ext>
                </a:extLst>
              </a:tr>
              <a:tr h="18297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latin typeface="+mn-lt"/>
                        </a:rPr>
                        <a:t>– </a:t>
                      </a:r>
                      <a:r>
                        <a:rPr lang="en-US" sz="1100" b="0" u="none" strike="noStrike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OUs / Libraries</a:t>
                      </a:r>
                      <a:endParaRPr lang="en-US" sz="1100" b="0" i="0" u="none" strike="noStrike">
                        <a:solidFill>
                          <a:schemeClr val="tx2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7679614"/>
                  </a:ext>
                </a:extLst>
              </a:tr>
              <a:tr h="18297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kern="120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100" u="none" strike="noStrike" kern="1200" noProof="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unction block / Local variable</a:t>
                      </a:r>
                      <a:endParaRPr lang="en-US" sz="1100" u="none" strike="noStrike" kern="1200">
                        <a:solidFill>
                          <a:schemeClr val="tx2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9614573"/>
                  </a:ext>
                </a:extLst>
              </a:tr>
              <a:tr h="18297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kern="1200" noProof="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en-US" sz="1100" u="none" strike="noStrike" kern="120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rogram hierarchy</a:t>
                      </a:r>
                      <a:endParaRPr lang="en-US" sz="1100" u="none" strike="noStrike" kern="1200" noProof="0">
                        <a:solidFill>
                          <a:schemeClr val="tx2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6583726"/>
                  </a:ext>
                </a:extLst>
              </a:tr>
              <a:tr h="18297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kern="1200" noProof="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– Data types / Global variable</a:t>
                      </a:r>
                      <a:endParaRPr kumimoji="0" 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062048"/>
                  </a:ext>
                </a:extLst>
              </a:tr>
              <a:tr h="18297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ＭＳ Ｐゴシック"/>
                          <a:cs typeface="+mn-cs"/>
                        </a:rPr>
                        <a:t>– 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nline test</a:t>
                      </a:r>
                      <a:endParaRPr kumimoji="0" 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4464637"/>
                  </a:ext>
                </a:extLst>
              </a:tr>
              <a:tr h="13863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COPE</a:t>
                      </a: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2642343"/>
                  </a:ext>
                </a:extLst>
              </a:tr>
              <a:tr h="18297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– Overview / 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ierarchy level</a:t>
                      </a: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3318218"/>
                  </a:ext>
                </a:extLst>
              </a:tr>
              <a:tr h="20532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ts val="19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VAC control</a:t>
                      </a: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7885269"/>
                  </a:ext>
                </a:extLst>
              </a:tr>
              <a:tr h="18297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>
                          <a:solidFill>
                            <a:srgbClr val="2D373C"/>
                          </a:solidFill>
                          <a:latin typeface="+mn-lt"/>
                        </a:rPr>
                        <a:t>–</a:t>
                      </a:r>
                      <a:r>
                        <a:rPr lang="en-US" sz="1100" u="none" strike="noStrike">
                          <a:solidFill>
                            <a:srgbClr val="2D373C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Automation</a:t>
                      </a:r>
                      <a:r>
                        <a:rPr lang="en-US" sz="1100" u="none" strike="noStrike">
                          <a:effectLst/>
                          <a:latin typeface="+mn-lt"/>
                          <a:cs typeface="Arial" panose="020B0604020202020204" pitchFamily="34" charset="0"/>
                        </a:rPr>
                        <a:t> objects (IO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810765"/>
                  </a:ext>
                </a:extLst>
              </a:tr>
              <a:tr h="18297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D373C"/>
                          </a:solidFill>
                          <a:effectLst/>
                          <a:uLnTx/>
                          <a:uFillTx/>
                          <a:latin typeface="+mn-lt"/>
                          <a:ea typeface="ＭＳ Ｐゴシック"/>
                          <a:cs typeface="+mn-cs"/>
                        </a:rPr>
                        <a:t>– 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W IO programming</a:t>
                      </a:r>
                      <a:endParaRPr kumimoji="0" 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1328702"/>
                  </a:ext>
                </a:extLst>
              </a:tr>
              <a:tr h="18297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D373C"/>
                          </a:solidFill>
                          <a:effectLst/>
                          <a:uLnTx/>
                          <a:uFillTx/>
                          <a:latin typeface="+mn-lt"/>
                          <a:ea typeface="ＭＳ Ｐゴシック"/>
                          <a:cs typeface="+mn-cs"/>
                        </a:rPr>
                        <a:t>– 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VAC control functions</a:t>
                      </a:r>
                      <a:endParaRPr kumimoji="0" 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4606211"/>
                  </a:ext>
                </a:extLst>
              </a:tr>
              <a:tr h="18297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D373C"/>
                          </a:solidFill>
                          <a:effectLst/>
                          <a:uLnTx/>
                          <a:uFillTx/>
                          <a:latin typeface="+mn-lt"/>
                          <a:ea typeface="ＭＳ Ｐゴシック"/>
                          <a:cs typeface="+mn-cs"/>
                        </a:rPr>
                        <a:t>– 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me schedule</a:t>
                      </a:r>
                      <a:endParaRPr kumimoji="0" 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1106779"/>
                  </a:ext>
                </a:extLst>
              </a:tr>
              <a:tr h="20532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ts val="19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rends &amp; alarms</a:t>
                      </a: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6510122"/>
                  </a:ext>
                </a:extLst>
              </a:tr>
              <a:tr h="18297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ＭＳ Ｐゴシック"/>
                          <a:cs typeface="+mn-cs"/>
                        </a:rPr>
                        <a:t>– 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larming</a:t>
                      </a:r>
                      <a:endParaRPr kumimoji="0" 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2200979"/>
                  </a:ext>
                </a:extLst>
              </a:tr>
              <a:tr h="18297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ＭＳ Ｐゴシック"/>
                          <a:cs typeface="+mn-cs"/>
                        </a:rPr>
                        <a:t>– 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rend logging</a:t>
                      </a:r>
                      <a:endParaRPr kumimoji="0" 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6505896"/>
                  </a:ext>
                </a:extLst>
              </a:tr>
              <a:tr h="20532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ts val="19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ontroller HMI</a:t>
                      </a: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02424"/>
                  </a:ext>
                </a:extLst>
              </a:tr>
              <a:tr h="18297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latin typeface="+mn-lt"/>
                        </a:rPr>
                        <a:t>– </a:t>
                      </a:r>
                      <a:r>
                        <a:rPr lang="en-US" sz="1100" u="none" strike="noStrike" kern="120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e</a:t>
                      </a:r>
                      <a:r>
                        <a:rPr lang="en-US" sz="1100" u="none" strike="noStrike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xt base &amp; translation</a:t>
                      </a:r>
                      <a:endParaRPr lang="en-US" sz="1100" b="0" i="0" u="none" strike="noStrike">
                        <a:solidFill>
                          <a:schemeClr val="tx2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7076487"/>
                  </a:ext>
                </a:extLst>
              </a:tr>
              <a:tr h="18297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ＭＳ Ｐゴシック"/>
                          <a:cs typeface="+mn-cs"/>
                        </a:rPr>
                        <a:t>– </a:t>
                      </a:r>
                      <a:r>
                        <a:rPr lang="en-US" sz="1100" u="none" strike="noStrike" kern="1200" noProof="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e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xt &amp; pages</a:t>
                      </a:r>
                      <a:endParaRPr kumimoji="0" 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589354"/>
                  </a:ext>
                </a:extLst>
              </a:tr>
              <a:tr h="18297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ＭＳ Ｐゴシック"/>
                          <a:cs typeface="+mn-cs"/>
                        </a:rPr>
                        <a:t>– 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Web server HMI</a:t>
                      </a:r>
                      <a:endParaRPr kumimoji="0" 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8773668"/>
                  </a:ext>
                </a:extLst>
              </a:tr>
              <a:tr h="18297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ＭＳ Ｐゴシック"/>
                          <a:cs typeface="+mn-cs"/>
                        </a:rPr>
                        <a:t>– 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User access right</a:t>
                      </a:r>
                      <a:endParaRPr kumimoji="0" 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>
                            <a:lumMod val="50000"/>
                            <a:lumOff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ＭＳ Ｐゴシック"/>
                        <a:cs typeface="Arial" panose="020B0604020202020204" pitchFamily="34" charset="0"/>
                      </a:endParaRP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1877292"/>
                  </a:ext>
                </a:extLst>
              </a:tr>
              <a:tr h="18297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>
                          <a:solidFill>
                            <a:schemeClr val="tx2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Useful Information</a:t>
                      </a:r>
                    </a:p>
                  </a:txBody>
                  <a:tcPr marL="36000" marR="0" marT="3600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626495"/>
                  </a:ext>
                </a:extLst>
              </a:tr>
            </a:tbl>
          </a:graphicData>
        </a:graphic>
      </p:graphicFrame>
      <p:sp>
        <p:nvSpPr>
          <p:cNvPr id="53" name="Rechteck 27">
            <a:extLst>
              <a:ext uri="{FF2B5EF4-FFF2-40B4-BE49-F238E27FC236}">
                <a16:creationId xmlns:a16="http://schemas.microsoft.com/office/drawing/2014/main" id="{4DBBA44B-0935-4E01-A946-BB7E914F8D55}"/>
              </a:ext>
            </a:extLst>
          </p:cNvPr>
          <p:cNvSpPr/>
          <p:nvPr userDrawn="1"/>
        </p:nvSpPr>
        <p:spPr bwMode="auto">
          <a:xfrm>
            <a:off x="12362" y="48486"/>
            <a:ext cx="2162645" cy="413666"/>
          </a:xfrm>
          <a:prstGeom prst="rect">
            <a:avLst/>
          </a:prstGeom>
          <a:noFill/>
          <a:ln w="3175">
            <a:noFill/>
          </a:ln>
          <a:effectLst/>
        </p:spPr>
        <p:txBody>
          <a:bodyPr wrap="square" lIns="36000" tIns="72000" rIns="108000" bIns="72000" numCol="1" spcCol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chemeClr val="bg1"/>
                </a:solidFill>
                <a:latin typeface="Siemens Sans" pitchFamily="2" charset="0"/>
              </a:rPr>
              <a:t>Climatix - courseware</a:t>
            </a:r>
            <a:endParaRPr lang="en-US" sz="1200">
              <a:solidFill>
                <a:schemeClr val="bg1"/>
              </a:solidFill>
              <a:latin typeface="Siemens Sans SC Black" pitchFamily="2" charset="0"/>
            </a:endParaRPr>
          </a:p>
        </p:txBody>
      </p:sp>
      <p:sp>
        <p:nvSpPr>
          <p:cNvPr id="64" name="Slide Number Placeholder">
            <a:extLst>
              <a:ext uri="{FF2B5EF4-FFF2-40B4-BE49-F238E27FC236}">
                <a16:creationId xmlns:a16="http://schemas.microsoft.com/office/drawing/2014/main" id="{D2CC280D-9D6F-4BB0-B648-8D4A6051CAF0}"/>
              </a:ext>
            </a:extLst>
          </p:cNvPr>
          <p:cNvSpPr txBox="1">
            <a:spLocks/>
          </p:cNvSpPr>
          <p:nvPr userDrawn="1"/>
        </p:nvSpPr>
        <p:spPr>
          <a:xfrm>
            <a:off x="1372062" y="6576879"/>
            <a:ext cx="932362" cy="5472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kern="14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kern="14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kern="14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kern="14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kern="14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ctr" defTabSz="914400" rtl="0" eaLnBrk="1" latinLnBrk="0" hangingPunct="1">
              <a:defRPr kern="14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ctr" defTabSz="914400" rtl="0" eaLnBrk="1" latinLnBrk="0" hangingPunct="1">
              <a:defRPr kern="14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ctr" defTabSz="914400" rtl="0" eaLnBrk="1" latinLnBrk="0" hangingPunct="1">
              <a:defRPr kern="14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ctr" defTabSz="914400" rtl="0" eaLnBrk="1" latinLnBrk="0" hangingPunct="1">
              <a:defRPr kern="14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r>
              <a:rPr lang="en-US" sz="1000">
                <a:solidFill>
                  <a:schemeClr val="bg1"/>
                </a:solidFill>
              </a:rPr>
              <a:t>Page </a:t>
            </a:r>
            <a:fld id="{15EBE321-CBB1-4E91-BD14-37C8D44326FB}" type="slidenum">
              <a:rPr lang="en-US" sz="1000" smtClean="0">
                <a:solidFill>
                  <a:schemeClr val="bg1"/>
                </a:solidFill>
              </a:rPr>
              <a:pPr/>
              <a:t>‹Nr.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6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F718B62D-DEBD-4B64-BCBB-D638F65B7D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050" r="37225"/>
          <a:stretch/>
        </p:blipFill>
        <p:spPr>
          <a:xfrm>
            <a:off x="-1571" y="7534185"/>
            <a:ext cx="2162645" cy="857971"/>
          </a:xfrm>
          <a:prstGeom prst="rect">
            <a:avLst/>
          </a:prstGeom>
        </p:spPr>
      </p:pic>
      <p:pic>
        <p:nvPicPr>
          <p:cNvPr id="67" name="Picture 2">
            <a:extLst>
              <a:ext uri="{FF2B5EF4-FFF2-40B4-BE49-F238E27FC236}">
                <a16:creationId xmlns:a16="http://schemas.microsoft.com/office/drawing/2014/main" id="{0A2835B4-E22B-4C46-B29E-BF593721B89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15" t="1" r="13436" b="42973"/>
          <a:stretch/>
        </p:blipFill>
        <p:spPr bwMode="auto">
          <a:xfrm>
            <a:off x="-1571" y="7510416"/>
            <a:ext cx="1227984" cy="362593"/>
          </a:xfrm>
          <a:prstGeom prst="rect">
            <a:avLst/>
          </a:prstGeom>
        </p:spPr>
      </p:pic>
      <p:sp>
        <p:nvSpPr>
          <p:cNvPr id="68" name="Slide Number Placeholder">
            <a:extLst>
              <a:ext uri="{FF2B5EF4-FFF2-40B4-BE49-F238E27FC236}">
                <a16:creationId xmlns:a16="http://schemas.microsoft.com/office/drawing/2014/main" id="{6F6F8A4A-1985-4589-BFAB-7E77C9C36DE0}"/>
              </a:ext>
            </a:extLst>
          </p:cNvPr>
          <p:cNvSpPr txBox="1">
            <a:spLocks/>
          </p:cNvSpPr>
          <p:nvPr userDrawn="1"/>
        </p:nvSpPr>
        <p:spPr>
          <a:xfrm>
            <a:off x="1308289" y="7588796"/>
            <a:ext cx="932362" cy="54720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ctr" rtl="0" fontAlgn="base">
              <a:spcBef>
                <a:spcPct val="50000"/>
              </a:spcBef>
              <a:spcAft>
                <a:spcPct val="0"/>
              </a:spcAft>
              <a:defRPr kern="14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kern="14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kern="14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kern="14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kern="14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ctr" defTabSz="914400" rtl="0" eaLnBrk="1" latinLnBrk="0" hangingPunct="1">
              <a:defRPr kern="14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ctr" defTabSz="914400" rtl="0" eaLnBrk="1" latinLnBrk="0" hangingPunct="1">
              <a:defRPr kern="14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ctr" defTabSz="914400" rtl="0" eaLnBrk="1" latinLnBrk="0" hangingPunct="1">
              <a:defRPr kern="14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ctr" defTabSz="914400" rtl="0" eaLnBrk="1" latinLnBrk="0" hangingPunct="1">
              <a:defRPr kern="14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r>
              <a:rPr lang="en-US" sz="1000">
                <a:solidFill>
                  <a:schemeClr val="bg1"/>
                </a:solidFill>
              </a:rPr>
              <a:t>Page </a:t>
            </a:r>
            <a:fld id="{15EBE321-CBB1-4E91-BD14-37C8D44326FB}" type="slidenum">
              <a:rPr lang="en-US" sz="1000" smtClean="0">
                <a:solidFill>
                  <a:schemeClr val="bg1"/>
                </a:solidFill>
              </a:rPr>
              <a:pPr/>
              <a:t>‹Nr.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70" name="Siemens Logo">
            <a:extLst>
              <a:ext uri="{FF2B5EF4-FFF2-40B4-BE49-F238E27FC236}">
                <a16:creationId xmlns:a16="http://schemas.microsoft.com/office/drawing/2014/main" id="{010BE05E-61C1-49FC-8123-9E6455B2074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66917" y="6605373"/>
            <a:ext cx="932362" cy="148246"/>
          </a:xfrm>
          <a:prstGeom prst="rect">
            <a:avLst/>
          </a:prstGeom>
        </p:spPr>
      </p:pic>
      <p:sp>
        <p:nvSpPr>
          <p:cNvPr id="74" name="Rechteck 27">
            <a:extLst>
              <a:ext uri="{FF2B5EF4-FFF2-40B4-BE49-F238E27FC236}">
                <a16:creationId xmlns:a16="http://schemas.microsoft.com/office/drawing/2014/main" id="{6109B672-6536-4221-A1A5-D6ED7BD59DED}"/>
              </a:ext>
            </a:extLst>
          </p:cNvPr>
          <p:cNvSpPr/>
          <p:nvPr userDrawn="1"/>
        </p:nvSpPr>
        <p:spPr bwMode="auto">
          <a:xfrm>
            <a:off x="12362" y="-639891"/>
            <a:ext cx="2162645" cy="413666"/>
          </a:xfrm>
          <a:prstGeom prst="rect">
            <a:avLst/>
          </a:prstGeom>
          <a:noFill/>
          <a:ln w="3175">
            <a:noFill/>
          </a:ln>
          <a:effectLst/>
        </p:spPr>
        <p:txBody>
          <a:bodyPr wrap="square" lIns="36000" tIns="72000" rIns="108000" bIns="72000" numCol="1" spcCol="72000" rtlCol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>
                <a:solidFill>
                  <a:schemeClr val="bg1"/>
                </a:solidFill>
                <a:latin typeface="Siemens Sans" pitchFamily="2" charset="0"/>
              </a:rPr>
              <a:t>Climatix </a:t>
            </a:r>
            <a:r>
              <a:rPr lang="en-US" sz="1100">
                <a:solidFill>
                  <a:schemeClr val="bg1"/>
                </a:solidFill>
                <a:latin typeface="Siemens Sans" pitchFamily="2" charset="0"/>
              </a:rPr>
              <a:t>© 2020</a:t>
            </a:r>
            <a:endParaRPr lang="en-US" sz="1100">
              <a:solidFill>
                <a:schemeClr val="bg1"/>
              </a:solidFill>
              <a:latin typeface="Siemens Sans SC Black" pitchFamily="2" charset="0"/>
            </a:endParaRPr>
          </a:p>
          <a:p>
            <a:pPr marL="0" algn="l">
              <a:lnSpc>
                <a:spcPts val="17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noProof="0">
                <a:solidFill>
                  <a:schemeClr val="bg1"/>
                </a:solidFill>
                <a:latin typeface="Siemens Sans" pitchFamily="2" charset="0"/>
              </a:rPr>
              <a:t>SAPRO Coursewa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AC7EE27-538F-4781-8E80-A7050CA678E8}"/>
              </a:ext>
            </a:extLst>
          </p:cNvPr>
          <p:cNvSpPr/>
          <p:nvPr userDrawn="1"/>
        </p:nvSpPr>
        <p:spPr bwMode="auto">
          <a:xfrm>
            <a:off x="-638175" y="467999"/>
            <a:ext cx="643570" cy="2232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E4EAEB0-CB28-4934-813F-8AD00CC4D751}"/>
              </a:ext>
            </a:extLst>
          </p:cNvPr>
          <p:cNvSpPr/>
          <p:nvPr userDrawn="1"/>
        </p:nvSpPr>
        <p:spPr bwMode="auto">
          <a:xfrm>
            <a:off x="-638175" y="727500"/>
            <a:ext cx="643570" cy="2232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85220E-7086-4CC9-B375-CC9686DFC2AB}"/>
              </a:ext>
            </a:extLst>
          </p:cNvPr>
          <p:cNvSpPr/>
          <p:nvPr userDrawn="1"/>
        </p:nvSpPr>
        <p:spPr bwMode="auto">
          <a:xfrm>
            <a:off x="-638175" y="988804"/>
            <a:ext cx="643570" cy="2232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0CB6D1F-8FF2-48C2-8753-13170F55BA58}"/>
              </a:ext>
            </a:extLst>
          </p:cNvPr>
          <p:cNvSpPr/>
          <p:nvPr userDrawn="1"/>
        </p:nvSpPr>
        <p:spPr bwMode="auto">
          <a:xfrm>
            <a:off x="-638175" y="1236719"/>
            <a:ext cx="643570" cy="2232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A42EF33-97DD-4081-8357-9BB549B99F4B}"/>
              </a:ext>
            </a:extLst>
          </p:cNvPr>
          <p:cNvSpPr/>
          <p:nvPr userDrawn="1"/>
        </p:nvSpPr>
        <p:spPr bwMode="auto">
          <a:xfrm>
            <a:off x="-638175" y="1488498"/>
            <a:ext cx="643570" cy="2232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4DE899B-45DC-4333-AFCA-A0DFBD837582}"/>
              </a:ext>
            </a:extLst>
          </p:cNvPr>
          <p:cNvSpPr/>
          <p:nvPr userDrawn="1"/>
        </p:nvSpPr>
        <p:spPr bwMode="auto">
          <a:xfrm>
            <a:off x="-638175" y="1724882"/>
            <a:ext cx="643570" cy="2232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53EA200-5B78-401C-A1EC-06ABC6477592}"/>
              </a:ext>
            </a:extLst>
          </p:cNvPr>
          <p:cNvSpPr/>
          <p:nvPr userDrawn="1"/>
        </p:nvSpPr>
        <p:spPr bwMode="auto">
          <a:xfrm>
            <a:off x="-638175" y="1963045"/>
            <a:ext cx="643570" cy="2232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69D7831-FA4F-46FB-A7C7-7DA736C3F4EA}"/>
              </a:ext>
            </a:extLst>
          </p:cNvPr>
          <p:cNvSpPr/>
          <p:nvPr userDrawn="1"/>
        </p:nvSpPr>
        <p:spPr bwMode="auto">
          <a:xfrm>
            <a:off x="-638175" y="2201308"/>
            <a:ext cx="643570" cy="2232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7857D5E-AA39-4586-AABA-7215299BA5C3}"/>
              </a:ext>
            </a:extLst>
          </p:cNvPr>
          <p:cNvSpPr/>
          <p:nvPr userDrawn="1"/>
        </p:nvSpPr>
        <p:spPr bwMode="auto">
          <a:xfrm>
            <a:off x="-638175" y="2428899"/>
            <a:ext cx="643570" cy="2232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7495825-201B-453E-931F-D7F3B95527BF}"/>
              </a:ext>
            </a:extLst>
          </p:cNvPr>
          <p:cNvSpPr/>
          <p:nvPr userDrawn="1"/>
        </p:nvSpPr>
        <p:spPr bwMode="auto">
          <a:xfrm>
            <a:off x="-638175" y="2676261"/>
            <a:ext cx="643570" cy="2232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0B41F1B-B6ED-40CB-AA64-2C9374DFB5A4}"/>
              </a:ext>
            </a:extLst>
          </p:cNvPr>
          <p:cNvSpPr/>
          <p:nvPr userDrawn="1"/>
        </p:nvSpPr>
        <p:spPr bwMode="auto">
          <a:xfrm>
            <a:off x="-638175" y="2945050"/>
            <a:ext cx="643570" cy="2232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A46AD4E-C12A-4889-BBF2-7AF23AA55E10}"/>
              </a:ext>
            </a:extLst>
          </p:cNvPr>
          <p:cNvSpPr/>
          <p:nvPr userDrawn="1"/>
        </p:nvSpPr>
        <p:spPr bwMode="auto">
          <a:xfrm>
            <a:off x="-638175" y="3185102"/>
            <a:ext cx="643570" cy="2232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7" r:id="rId2"/>
    <p:sldLayoutId id="2147483699" r:id="rId3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" Target="slide12.xml"/><Relationship Id="rId3" Type="http://schemas.openxmlformats.org/officeDocument/2006/relationships/image" Target="../media/image5.jpeg"/><Relationship Id="rId7" Type="http://schemas.openxmlformats.org/officeDocument/2006/relationships/slide" Target="slide6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slide" Target="slide9.xml"/><Relationship Id="rId5" Type="http://schemas.openxmlformats.org/officeDocument/2006/relationships/slide" Target="slide4.xml"/><Relationship Id="rId4" Type="http://schemas.openxmlformats.org/officeDocument/2006/relationships/slide" Target="slide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3" Type="http://schemas.openxmlformats.org/officeDocument/2006/relationships/image" Target="../media/image55.jpeg"/><Relationship Id="rId7" Type="http://schemas.openxmlformats.org/officeDocument/2006/relationships/image" Target="../media/image59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jpeg"/><Relationship Id="rId5" Type="http://schemas.openxmlformats.org/officeDocument/2006/relationships/image" Target="../media/image57.jpeg"/><Relationship Id="rId10" Type="http://schemas.openxmlformats.org/officeDocument/2006/relationships/image" Target="../media/image62.jpeg"/><Relationship Id="rId4" Type="http://schemas.openxmlformats.org/officeDocument/2006/relationships/image" Target="../media/image56.jpeg"/><Relationship Id="rId9" Type="http://schemas.openxmlformats.org/officeDocument/2006/relationships/image" Target="../media/image61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63.jpe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6" Type="http://schemas.openxmlformats.org/officeDocument/2006/relationships/image" Target="../media/image66.jpe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image" Target="../media/image65.jpeg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6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61.jpeg"/><Relationship Id="rId4" Type="http://schemas.openxmlformats.org/officeDocument/2006/relationships/image" Target="../media/image64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jpeg"/><Relationship Id="rId3" Type="http://schemas.openxmlformats.org/officeDocument/2006/relationships/image" Target="../media/image68.jpeg"/><Relationship Id="rId7" Type="http://schemas.openxmlformats.org/officeDocument/2006/relationships/image" Target="../media/image72.jpe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.jpeg"/><Relationship Id="rId5" Type="http://schemas.openxmlformats.org/officeDocument/2006/relationships/image" Target="../media/image70.jpeg"/><Relationship Id="rId4" Type="http://schemas.openxmlformats.org/officeDocument/2006/relationships/image" Target="../media/image69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10" Type="http://schemas.openxmlformats.org/officeDocument/2006/relationships/image" Target="../media/image29.jpeg"/><Relationship Id="rId4" Type="http://schemas.openxmlformats.org/officeDocument/2006/relationships/image" Target="../media/image23.jpeg"/><Relationship Id="rId9" Type="http://schemas.openxmlformats.org/officeDocument/2006/relationships/image" Target="../media/image2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image" Target="../media/image40.jpeg"/><Relationship Id="rId7" Type="http://schemas.openxmlformats.org/officeDocument/2006/relationships/image" Target="../media/image44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41.jpeg"/><Relationship Id="rId9" Type="http://schemas.openxmlformats.org/officeDocument/2006/relationships/image" Target="../media/image46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image" Target="../media/image48.jpeg"/><Relationship Id="rId7" Type="http://schemas.openxmlformats.org/officeDocument/2006/relationships/image" Target="../media/image52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jpeg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 descr="Climatix - Produktsortiment | Original equipment manufacturer (OEM) |  Siemens Global">
            <a:extLst>
              <a:ext uri="{FF2B5EF4-FFF2-40B4-BE49-F238E27FC236}">
                <a16:creationId xmlns:a16="http://schemas.microsoft.com/office/drawing/2014/main" id="{2BE83BA3-87B4-473E-9696-006EE4A0D0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64" r="37677"/>
          <a:stretch/>
        </p:blipFill>
        <p:spPr bwMode="auto">
          <a:xfrm>
            <a:off x="2160000" y="454634"/>
            <a:ext cx="5265867" cy="6408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D880FF0-D7A2-436F-8597-A36DC7EBB2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60224" y="455232"/>
            <a:ext cx="4983068" cy="64083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79953" tIns="215944" rIns="395897" bIns="0"/>
          <a:lstStyle/>
          <a:p>
            <a:pPr marL="176160" indent="-176160" algn="l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Wingdings" pitchFamily="2" charset="2"/>
              <a:buChar char="§"/>
            </a:pPr>
            <a:r>
              <a:rPr lang="en-US" sz="2000">
                <a:solidFill>
                  <a:schemeClr val="tx1"/>
                </a:solidFill>
              </a:rPr>
              <a:t>Become familiar with the Climatix libraries of functions including function and HVAC blocks, automation and BACnet objects.</a:t>
            </a:r>
          </a:p>
          <a:p>
            <a:pPr marL="176160" indent="-176160" algn="l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Font typeface="Wingdings" pitchFamily="2" charset="2"/>
              <a:buChar char="§"/>
            </a:pPr>
            <a:r>
              <a:rPr lang="en-US" sz="2000">
                <a:solidFill>
                  <a:schemeClr val="tx1"/>
                </a:solidFill>
              </a:rPr>
              <a:t>Be able to develop own HVAC application programs </a:t>
            </a:r>
          </a:p>
        </p:txBody>
      </p:sp>
      <p:sp>
        <p:nvSpPr>
          <p:cNvPr id="41" name="cdtText Box 4 Id114692">
            <a:extLst>
              <a:ext uri="{FF2B5EF4-FFF2-40B4-BE49-F238E27FC236}">
                <a16:creationId xmlns:a16="http://schemas.microsoft.com/office/drawing/2014/main" id="{B4C37A5A-F98A-4E40-9DA3-A99170117D7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159999" y="0"/>
            <a:ext cx="10035175" cy="468000"/>
          </a:xfrm>
          <a:prstGeom prst="rect">
            <a:avLst/>
          </a:prstGeom>
          <a:gradFill>
            <a:gsLst>
              <a:gs pos="58000">
                <a:srgbClr val="00315F"/>
              </a:gs>
              <a:gs pos="6000">
                <a:srgbClr val="00022B"/>
              </a:gs>
              <a:gs pos="100000">
                <a:srgbClr val="0080B6"/>
              </a:gs>
            </a:gsLst>
            <a:lin ang="0" scaled="0"/>
          </a:gradFill>
          <a:ln>
            <a:noFill/>
          </a:ln>
          <a:effectLst/>
        </p:spPr>
        <p:txBody>
          <a:bodyPr wrap="square" lIns="143963" tIns="143963" rIns="143963" bIns="143963" numCol="1" spcCol="72000" rtlCol="0" anchor="ctr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1600" dirty="0">
                <a:solidFill>
                  <a:schemeClr val="bg1"/>
                </a:solidFill>
              </a:rPr>
              <a:t>HVAC contro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62E143-596F-4131-92D5-FA6EA3FC10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32" name="Rectangle 31">
            <a:hlinkClick r:id="rId4" action="ppaction://hlinksldjump"/>
            <a:extLst>
              <a:ext uri="{FF2B5EF4-FFF2-40B4-BE49-F238E27FC236}">
                <a16:creationId xmlns:a16="http://schemas.microsoft.com/office/drawing/2014/main" id="{6120697E-105B-48D5-AA1F-88D543BFF269}"/>
              </a:ext>
            </a:extLst>
          </p:cNvPr>
          <p:cNvSpPr/>
          <p:nvPr/>
        </p:nvSpPr>
        <p:spPr bwMode="auto">
          <a:xfrm>
            <a:off x="0" y="481349"/>
            <a:ext cx="2147700" cy="216876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33" name="Rectangle 32">
            <a:hlinkClick r:id="rId5" action="ppaction://hlinksldjump"/>
            <a:extLst>
              <a:ext uri="{FF2B5EF4-FFF2-40B4-BE49-F238E27FC236}">
                <a16:creationId xmlns:a16="http://schemas.microsoft.com/office/drawing/2014/main" id="{16F4D576-119F-48CF-9685-5F641C576F22}"/>
              </a:ext>
            </a:extLst>
          </p:cNvPr>
          <p:cNvSpPr/>
          <p:nvPr/>
        </p:nvSpPr>
        <p:spPr bwMode="auto">
          <a:xfrm>
            <a:off x="0" y="713393"/>
            <a:ext cx="2147700" cy="219980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34" name="Rectangle 33">
            <a:hlinkClick r:id="rId6" action="ppaction://hlinksldjump"/>
            <a:extLst>
              <a:ext uri="{FF2B5EF4-FFF2-40B4-BE49-F238E27FC236}">
                <a16:creationId xmlns:a16="http://schemas.microsoft.com/office/drawing/2014/main" id="{88795B61-7D4F-4EA4-B522-EA2FBDC10452}"/>
              </a:ext>
            </a:extLst>
          </p:cNvPr>
          <p:cNvSpPr/>
          <p:nvPr/>
        </p:nvSpPr>
        <p:spPr bwMode="auto">
          <a:xfrm>
            <a:off x="12300" y="974934"/>
            <a:ext cx="2147700" cy="231460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35" name="Rectangle 34">
            <a:hlinkClick r:id="rId7" action="ppaction://hlinksldjump"/>
            <a:extLst>
              <a:ext uri="{FF2B5EF4-FFF2-40B4-BE49-F238E27FC236}">
                <a16:creationId xmlns:a16="http://schemas.microsoft.com/office/drawing/2014/main" id="{FAB32B33-2675-4FE9-9547-B36FABC4F33B}"/>
              </a:ext>
            </a:extLst>
          </p:cNvPr>
          <p:cNvSpPr/>
          <p:nvPr/>
        </p:nvSpPr>
        <p:spPr bwMode="auto">
          <a:xfrm>
            <a:off x="12300" y="1222513"/>
            <a:ext cx="2147700" cy="252345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36" name="Rectangle 35">
            <a:hlinkClick r:id="rId8" action="ppaction://hlinksldjump"/>
            <a:extLst>
              <a:ext uri="{FF2B5EF4-FFF2-40B4-BE49-F238E27FC236}">
                <a16:creationId xmlns:a16="http://schemas.microsoft.com/office/drawing/2014/main" id="{43654BD6-C8D8-4165-8783-ECB9EE3F0584}"/>
              </a:ext>
            </a:extLst>
          </p:cNvPr>
          <p:cNvSpPr/>
          <p:nvPr/>
        </p:nvSpPr>
        <p:spPr bwMode="auto">
          <a:xfrm>
            <a:off x="12300" y="1224628"/>
            <a:ext cx="2147700" cy="218379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38" name="Rectangle 37">
            <a:hlinkClick r:id="" action="ppaction://noaction"/>
            <a:extLst>
              <a:ext uri="{FF2B5EF4-FFF2-40B4-BE49-F238E27FC236}">
                <a16:creationId xmlns:a16="http://schemas.microsoft.com/office/drawing/2014/main" id="{D05F2FE5-53C6-496D-A939-94F874F6B28D}"/>
              </a:ext>
            </a:extLst>
          </p:cNvPr>
          <p:cNvSpPr/>
          <p:nvPr/>
        </p:nvSpPr>
        <p:spPr bwMode="auto">
          <a:xfrm>
            <a:off x="12300" y="1472924"/>
            <a:ext cx="2147700" cy="218379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39" name="Rectangle 38">
            <a:hlinkClick r:id="" action="ppaction://noaction"/>
            <a:extLst>
              <a:ext uri="{FF2B5EF4-FFF2-40B4-BE49-F238E27FC236}">
                <a16:creationId xmlns:a16="http://schemas.microsoft.com/office/drawing/2014/main" id="{0CA36224-8AC1-4E23-B9E2-C08B97CB2250}"/>
              </a:ext>
            </a:extLst>
          </p:cNvPr>
          <p:cNvSpPr/>
          <p:nvPr/>
        </p:nvSpPr>
        <p:spPr bwMode="auto">
          <a:xfrm>
            <a:off x="12300" y="1720725"/>
            <a:ext cx="2147700" cy="218379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40" name="Rectangle 39">
            <a:hlinkClick r:id="" action="ppaction://noaction"/>
            <a:extLst>
              <a:ext uri="{FF2B5EF4-FFF2-40B4-BE49-F238E27FC236}">
                <a16:creationId xmlns:a16="http://schemas.microsoft.com/office/drawing/2014/main" id="{C58C68A7-B87A-4A62-BFC7-9DC4175E124F}"/>
              </a:ext>
            </a:extLst>
          </p:cNvPr>
          <p:cNvSpPr/>
          <p:nvPr/>
        </p:nvSpPr>
        <p:spPr bwMode="auto">
          <a:xfrm>
            <a:off x="12300" y="1954966"/>
            <a:ext cx="2147700" cy="218379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42" name="Rectangle 41">
            <a:hlinkClick r:id="" action="ppaction://noaction"/>
            <a:extLst>
              <a:ext uri="{FF2B5EF4-FFF2-40B4-BE49-F238E27FC236}">
                <a16:creationId xmlns:a16="http://schemas.microsoft.com/office/drawing/2014/main" id="{9D9001F1-C5CD-4425-9FF9-577AEAA5F944}"/>
              </a:ext>
            </a:extLst>
          </p:cNvPr>
          <p:cNvSpPr/>
          <p:nvPr/>
        </p:nvSpPr>
        <p:spPr bwMode="auto">
          <a:xfrm>
            <a:off x="12300" y="2187400"/>
            <a:ext cx="2147700" cy="218379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44" name="Rectangle 43">
            <a:hlinkClick r:id="" action="ppaction://noaction"/>
            <a:extLst>
              <a:ext uri="{FF2B5EF4-FFF2-40B4-BE49-F238E27FC236}">
                <a16:creationId xmlns:a16="http://schemas.microsoft.com/office/drawing/2014/main" id="{71A916F0-3F63-4FFA-9CDF-4EBCE131692F}"/>
              </a:ext>
            </a:extLst>
          </p:cNvPr>
          <p:cNvSpPr/>
          <p:nvPr/>
        </p:nvSpPr>
        <p:spPr bwMode="auto">
          <a:xfrm>
            <a:off x="12300" y="2666011"/>
            <a:ext cx="2147700" cy="218379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Textfeld 337">
            <a:extLst>
              <a:ext uri="{FF2B5EF4-FFF2-40B4-BE49-F238E27FC236}">
                <a16:creationId xmlns:a16="http://schemas.microsoft.com/office/drawing/2014/main" id="{7BE6D021-F388-4E33-8C62-12D6079576F2}"/>
              </a:ext>
            </a:extLst>
          </p:cNvPr>
          <p:cNvSpPr txBox="1"/>
          <p:nvPr/>
        </p:nvSpPr>
        <p:spPr>
          <a:xfrm>
            <a:off x="-1" y="2932806"/>
            <a:ext cx="2160000" cy="222249"/>
          </a:xfrm>
          <a:prstGeom prst="rect">
            <a:avLst/>
          </a:prstGeom>
          <a:solidFill>
            <a:srgbClr val="0080B6"/>
          </a:solidFill>
        </p:spPr>
        <p:txBody>
          <a:bodyPr wrap="square" lIns="54000" tIns="0" rIns="0" bIns="0" rtlCol="0" anchor="ctr" anchorCtr="0">
            <a:noAutofit/>
          </a:bodyPr>
          <a:lstStyle>
            <a:defPPr>
              <a:defRPr lang="de-DE"/>
            </a:defPPr>
            <a:lvl1pPr algn="l">
              <a:lnSpc>
                <a:spcPct val="110000"/>
              </a:lnSpc>
              <a:spcBef>
                <a:spcPts val="0"/>
              </a:spcBef>
              <a:defRPr sz="1100" b="1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r>
              <a:rPr lang="en-US" u="none" strike="noStrike" kern="1200">
                <a:effectLst/>
                <a:latin typeface="+mj-lt"/>
                <a:ea typeface="+mn-ea"/>
              </a:rPr>
              <a:t>HVAC control</a:t>
            </a:r>
            <a:endParaRPr lang="en-US" sz="1100" u="none" strike="noStrike" kern="1200">
              <a:effectLst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56529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/>
            </a:br>
            <a:endParaRPr lang="en-US" noProof="0"/>
          </a:p>
        </p:txBody>
      </p:sp>
      <p:sp>
        <p:nvSpPr>
          <p:cNvPr id="78" name="cdtText Box 4 Id114692">
            <a:extLst>
              <a:ext uri="{FF2B5EF4-FFF2-40B4-BE49-F238E27FC236}">
                <a16:creationId xmlns:a16="http://schemas.microsoft.com/office/drawing/2014/main" id="{4DD5E6A6-4EC4-451D-BF52-ECC3BB5942C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159999" y="1084"/>
            <a:ext cx="10035175" cy="468000"/>
          </a:xfrm>
          <a:prstGeom prst="rect">
            <a:avLst/>
          </a:prstGeom>
          <a:gradFill>
            <a:gsLst>
              <a:gs pos="58000">
                <a:srgbClr val="00315F"/>
              </a:gs>
              <a:gs pos="6000">
                <a:srgbClr val="00022B"/>
              </a:gs>
              <a:gs pos="100000">
                <a:srgbClr val="0080B6"/>
              </a:gs>
            </a:gsLst>
            <a:lin ang="0" scaled="0"/>
          </a:gradFill>
          <a:ln>
            <a:noFill/>
          </a:ln>
          <a:effectLst/>
        </p:spPr>
        <p:txBody>
          <a:bodyPr wrap="square" lIns="143963" tIns="143963" rIns="143963" bIns="143963" numCol="1" spcCol="72000" rtlCol="0" anchor="ctr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</a:rPr>
              <a:t>HW IO programming   </a:t>
            </a:r>
            <a:r>
              <a:rPr lang="en-US" sz="1600">
                <a:solidFill>
                  <a:schemeClr val="bg1"/>
                </a:solidFill>
                <a:sym typeface="Wingdings" panose="05000000000000000000" pitchFamily="2" charset="2"/>
              </a:rPr>
              <a:t> </a:t>
            </a:r>
            <a:r>
              <a:rPr lang="en-US" sz="1600">
                <a:solidFill>
                  <a:schemeClr val="bg1"/>
                </a:solidFill>
              </a:rPr>
              <a:t>Exercise 1</a:t>
            </a:r>
          </a:p>
        </p:txBody>
      </p:sp>
      <p:sp>
        <p:nvSpPr>
          <p:cNvPr id="43" name="Textfeld 337">
            <a:extLst>
              <a:ext uri="{FF2B5EF4-FFF2-40B4-BE49-F238E27FC236}">
                <a16:creationId xmlns:a16="http://schemas.microsoft.com/office/drawing/2014/main" id="{A9201726-681C-4CAB-80AE-DA0512004A3B}"/>
              </a:ext>
            </a:extLst>
          </p:cNvPr>
          <p:cNvSpPr txBox="1"/>
          <p:nvPr/>
        </p:nvSpPr>
        <p:spPr>
          <a:xfrm>
            <a:off x="7619" y="3400237"/>
            <a:ext cx="2160000" cy="222249"/>
          </a:xfrm>
          <a:prstGeom prst="rect">
            <a:avLst/>
          </a:prstGeom>
          <a:solidFill>
            <a:srgbClr val="0080B6"/>
          </a:solidFill>
        </p:spPr>
        <p:txBody>
          <a:bodyPr wrap="square" lIns="54000" tIns="0" rIns="0" bIns="0" rtlCol="0" anchor="ctr" anchorCtr="0">
            <a:noAutofit/>
          </a:bodyPr>
          <a:lstStyle>
            <a:defPPr>
              <a:defRPr lang="de-DE"/>
            </a:defPPr>
            <a:lvl1pPr algn="l">
              <a:lnSpc>
                <a:spcPct val="110000"/>
              </a:lnSpc>
              <a:spcBef>
                <a:spcPts val="0"/>
              </a:spcBef>
              <a:defRPr sz="1100" b="1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r>
              <a:rPr lang="en-US" sz="1100" b="0">
                <a:latin typeface="+mj-lt"/>
              </a:rPr>
              <a:t>– </a:t>
            </a:r>
            <a:r>
              <a:rPr lang="en-US" b="0" kern="1200">
                <a:latin typeface="+mj-lt"/>
                <a:ea typeface="+mn-ea"/>
              </a:rPr>
              <a:t>HW IO programming</a:t>
            </a:r>
            <a:endParaRPr lang="en-US" sz="1100" b="0" u="none" strike="noStrike" kern="1200">
              <a:effectLst/>
              <a:latin typeface="+mj-lt"/>
              <a:ea typeface="+mn-ea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D5ECB4-DA57-4CB0-AA3C-657B88F684C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8590" y="1841860"/>
            <a:ext cx="2690113" cy="202829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3C1B442-0836-40EF-A24D-579185C090C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3206" y="4073528"/>
            <a:ext cx="1340879" cy="143962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98C9873-1BD8-4DE5-823C-E24991B1894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4271" y="2093860"/>
            <a:ext cx="1853170" cy="3369400"/>
          </a:xfrm>
          <a:prstGeom prst="rect">
            <a:avLst/>
          </a:prstGeom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id="{724100CD-F240-40C0-958A-872E653D1F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58577" y="747277"/>
            <a:ext cx="7126937" cy="5846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kern="0"/>
              <a:t>For each Climatix device with physical inputs and outputs, an automation object is available. Example C600 controller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461F8AC-2DBE-4BCC-AE20-6318E5658ED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7144" y="3903004"/>
            <a:ext cx="1340879" cy="238320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09D7CD5-B627-4CB3-BACE-0A6C273721E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8611" y="1455948"/>
            <a:ext cx="1094339" cy="141939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D800F34-16D4-4A69-B402-C4482F0B014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4275" y="3789684"/>
            <a:ext cx="2501131" cy="1826069"/>
          </a:xfrm>
          <a:prstGeom prst="rect">
            <a:avLst/>
          </a:prstGeom>
        </p:spPr>
      </p:pic>
      <p:sp>
        <p:nvSpPr>
          <p:cNvPr id="14" name="Rectangle 3">
            <a:extLst>
              <a:ext uri="{FF2B5EF4-FFF2-40B4-BE49-F238E27FC236}">
                <a16:creationId xmlns:a16="http://schemas.microsoft.com/office/drawing/2014/main" id="{0D9B1394-4D08-4EC4-8780-D2AE02FDA8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85514" y="730789"/>
            <a:ext cx="3167527" cy="5846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kern="0"/>
              <a:t>Function block for Climatix extension modu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BCAF12B-B2BB-4C60-9FC3-0CE0C7BD0D5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3136" y="1805744"/>
            <a:ext cx="1102266" cy="1756278"/>
          </a:xfrm>
          <a:prstGeom prst="rect">
            <a:avLst/>
          </a:prstGeom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C14A522-EE71-4D05-89E8-D973B1C386E3}"/>
              </a:ext>
            </a:extLst>
          </p:cNvPr>
          <p:cNvCxnSpPr/>
          <p:nvPr/>
        </p:nvCxnSpPr>
        <p:spPr bwMode="auto">
          <a:xfrm flipV="1">
            <a:off x="3806475" y="4289495"/>
            <a:ext cx="1871721" cy="107983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12CF089-E9A5-4271-AE0A-D66A0459CFD3}"/>
              </a:ext>
            </a:extLst>
          </p:cNvPr>
          <p:cNvCxnSpPr>
            <a:cxnSpLocks/>
          </p:cNvCxnSpPr>
          <p:nvPr/>
        </p:nvCxnSpPr>
        <p:spPr bwMode="auto">
          <a:xfrm flipV="1">
            <a:off x="6686046" y="2482183"/>
            <a:ext cx="776845" cy="817284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32AC03A-599F-466B-A3D2-885293006795}"/>
              </a:ext>
            </a:extLst>
          </p:cNvPr>
          <p:cNvCxnSpPr>
            <a:cxnSpLocks/>
          </p:cNvCxnSpPr>
          <p:nvPr/>
        </p:nvCxnSpPr>
        <p:spPr bwMode="auto">
          <a:xfrm>
            <a:off x="8344015" y="2432559"/>
            <a:ext cx="300826" cy="124486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4BFB488-5E88-4085-ADBF-FBB915373B09}"/>
              </a:ext>
            </a:extLst>
          </p:cNvPr>
          <p:cNvSpPr txBox="1"/>
          <p:nvPr/>
        </p:nvSpPr>
        <p:spPr>
          <a:xfrm>
            <a:off x="2654647" y="1735553"/>
            <a:ext cx="2004142" cy="1655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OL688.10/STD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ntroller</a:t>
            </a:r>
            <a:endParaRPr lang="en-GB" sz="12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8D2CBED-5988-48BA-82FF-6AE124FB8EC8}"/>
              </a:ext>
            </a:extLst>
          </p:cNvPr>
          <p:cNvSpPr txBox="1"/>
          <p:nvPr/>
        </p:nvSpPr>
        <p:spPr>
          <a:xfrm>
            <a:off x="2627037" y="3823665"/>
            <a:ext cx="2004142" cy="1655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APRO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roject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ree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–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xLib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….</a:t>
            </a:r>
            <a:endParaRPr lang="en-GB" sz="12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2464190-50B1-4937-A527-03F6EBD7E14A}"/>
              </a:ext>
            </a:extLst>
          </p:cNvPr>
          <p:cNvSpPr txBox="1"/>
          <p:nvPr/>
        </p:nvSpPr>
        <p:spPr>
          <a:xfrm>
            <a:off x="5098785" y="1860944"/>
            <a:ext cx="2004142" cy="1655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GB" sz="12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34A14AF-CFC5-4CB3-B026-DF5BB01F37E1}"/>
              </a:ext>
            </a:extLst>
          </p:cNvPr>
          <p:cNvSpPr txBox="1"/>
          <p:nvPr/>
        </p:nvSpPr>
        <p:spPr>
          <a:xfrm>
            <a:off x="5069081" y="1854868"/>
            <a:ext cx="2004142" cy="1655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ardware IO function block</a:t>
            </a:r>
            <a:endParaRPr lang="en-GB" sz="12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C7CC530-573A-410F-8BBD-B26E057A10C5}"/>
              </a:ext>
            </a:extLst>
          </p:cNvPr>
          <p:cNvSpPr txBox="1"/>
          <p:nvPr/>
        </p:nvSpPr>
        <p:spPr>
          <a:xfrm>
            <a:off x="8544013" y="2010073"/>
            <a:ext cx="1683002" cy="11156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arameterized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y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election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e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function block,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ight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ouse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lick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and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elect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Automation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bject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(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new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).</a:t>
            </a:r>
            <a:endParaRPr lang="en-GB" sz="12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C47F359-4353-4798-A4A5-2B863C769D48}"/>
              </a:ext>
            </a:extLst>
          </p:cNvPr>
          <p:cNvSpPr txBox="1"/>
          <p:nvPr/>
        </p:nvSpPr>
        <p:spPr>
          <a:xfrm>
            <a:off x="7341943" y="5645239"/>
            <a:ext cx="2553462" cy="4607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ptions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for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nfiguring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e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nputs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and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utputs</a:t>
            </a:r>
            <a:endParaRPr lang="en-GB" sz="12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EC699ED-C20E-4C85-8B47-EDFA46C030F6}"/>
              </a:ext>
            </a:extLst>
          </p:cNvPr>
          <p:cNvGrpSpPr>
            <a:grpSpLocks noChangeAspect="1"/>
          </p:cNvGrpSpPr>
          <p:nvPr/>
        </p:nvGrpSpPr>
        <p:grpSpPr>
          <a:xfrm>
            <a:off x="5774660" y="83012"/>
            <a:ext cx="323161" cy="323158"/>
            <a:chOff x="3169323" y="2534982"/>
            <a:chExt cx="688904" cy="68890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872D2BAE-3663-434E-895E-88D5A2ECC19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69323" y="2534982"/>
              <a:ext cx="688904" cy="688904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GB" sz="18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135B9FF4-C33D-4709-B90D-0EF56D52C04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255004" y="2628982"/>
              <a:ext cx="475876" cy="475877"/>
              <a:chOff x="4295347" y="1989280"/>
              <a:chExt cx="753202" cy="753203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AFC4402C-3FBC-4D31-8008-CEB4A9F7A222}"/>
                  </a:ext>
                </a:extLst>
              </p:cNvPr>
              <p:cNvSpPr/>
              <p:nvPr/>
            </p:nvSpPr>
            <p:spPr bwMode="auto">
              <a:xfrm>
                <a:off x="4523984" y="2034302"/>
                <a:ext cx="405044" cy="40460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GB" sz="180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pic>
            <p:nvPicPr>
              <p:cNvPr id="36" name="Picture 2" descr="Image result for free icon workshop">
                <a:extLst>
                  <a:ext uri="{FF2B5EF4-FFF2-40B4-BE49-F238E27FC236}">
                    <a16:creationId xmlns:a16="http://schemas.microsoft.com/office/drawing/2014/main" id="{4B845A8D-E7ED-4298-8907-22F870EBD8F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95347" y="1989280"/>
                <a:ext cx="753202" cy="75320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403987F8-9ADF-4DD3-BFA5-DE37FD0F062E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7144" y="2127438"/>
            <a:ext cx="1094339" cy="166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29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60A7DF81-421E-4490-8608-D85C95DEBF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23530" y="682570"/>
            <a:ext cx="3786807" cy="3301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kern="0"/>
              <a:t>Universal PID controller (P, PI, PD, PID) with modulating output.</a:t>
            </a:r>
          </a:p>
          <a:p>
            <a:pPr marL="1588" lvl="1" indent="0">
              <a:buNone/>
            </a:pPr>
            <a:r>
              <a:rPr lang="en-US" altLang="en-US" sz="1600" kern="0"/>
              <a:t>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kern="0"/>
              <a:t>Feedback signal input for the present control element position. If no real position feedback available, connect the analog output object </a:t>
            </a:r>
            <a:r>
              <a:rPr lang="en-US" altLang="en-US" sz="1600" kern="0" err="1"/>
              <a:t>PrVal</a:t>
            </a:r>
            <a:r>
              <a:rPr lang="en-US" altLang="en-US" sz="1600" kern="0"/>
              <a:t> to the AFBV input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kern="0"/>
              <a:t>Adjustable high and low limits for the output, Connect high and low inputs to the analog output object outputs.</a:t>
            </a:r>
          </a:p>
          <a:p>
            <a:pPr marL="1588" lvl="1" indent="0">
              <a:buNone/>
            </a:pPr>
            <a:r>
              <a:rPr lang="en-US" altLang="en-US" sz="1600" kern="0"/>
              <a:t>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kern="0"/>
              <a:t>Connectable with further controllers to create sequences (SQ inputs and outputs)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E114E75-13D3-4382-AD8F-1BD8A83CB23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08639" y="954235"/>
            <a:ext cx="1433840" cy="13878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7A1B673-3DE6-4379-9F3F-C0394782EC0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215261" y="2823143"/>
            <a:ext cx="2111409" cy="221014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6F7E89D-B97D-4C0B-B89A-B7825153B51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221559" y="815727"/>
            <a:ext cx="3122890" cy="73102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0413F05-8E8E-4406-ABE7-DE5250500A4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203470" y="1684298"/>
            <a:ext cx="3129051" cy="69391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1BF1546-6A78-4AE8-ABC9-CA6510569133}"/>
              </a:ext>
            </a:extLst>
          </p:cNvPr>
          <p:cNvSpPr txBox="1"/>
          <p:nvPr/>
        </p:nvSpPr>
        <p:spPr>
          <a:xfrm>
            <a:off x="2340859" y="2966017"/>
            <a:ext cx="2829182" cy="230923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1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PV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–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et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oint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alue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1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RV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–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resent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alue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1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RPRV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–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resent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alue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rror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1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NBL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–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nable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1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O_UNA 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–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ntrol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lement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navailable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1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FBV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–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ntrol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lement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osition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feedback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1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igh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– </a:t>
            </a:r>
            <a:r>
              <a:rPr lang="en-US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imit for the AO output.</a:t>
            </a:r>
            <a:endParaRPr lang="de-CH" sz="11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1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ow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– </a:t>
            </a:r>
            <a:r>
              <a:rPr lang="en-US" sz="110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limit for the AO output.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US" sz="1100" b="1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NV</a:t>
            </a:r>
            <a:r>
              <a:rPr lang="en-US" sz="110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– Invert control direction.</a:t>
            </a:r>
            <a:endParaRPr lang="de-CH" sz="110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1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QFM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–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equence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link (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from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ore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).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1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QFL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–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equence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link (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from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ess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).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1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O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–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utput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o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analog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utput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1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bject</a:t>
            </a: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endParaRPr lang="de-CH" sz="11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1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																									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5A8E821-9D4E-4AB3-B29B-E3BD9C124C70}"/>
              </a:ext>
            </a:extLst>
          </p:cNvPr>
          <p:cNvGrpSpPr/>
          <p:nvPr/>
        </p:nvGrpSpPr>
        <p:grpSpPr>
          <a:xfrm>
            <a:off x="8930098" y="4815156"/>
            <a:ext cx="3083889" cy="1956356"/>
            <a:chOff x="6414041" y="4785822"/>
            <a:chExt cx="3084693" cy="1956866"/>
          </a:xfrm>
        </p:grpSpPr>
        <p:sp>
          <p:nvSpPr>
            <p:cNvPr id="17" name="Line 6">
              <a:extLst>
                <a:ext uri="{FF2B5EF4-FFF2-40B4-BE49-F238E27FC236}">
                  <a16:creationId xmlns:a16="http://schemas.microsoft.com/office/drawing/2014/main" id="{FB366CCF-603F-4706-9C63-FF8FCAEB4F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19928" y="4941036"/>
              <a:ext cx="1723561" cy="1159517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19" name="Text Box 15">
              <a:extLst>
                <a:ext uri="{FF2B5EF4-FFF2-40B4-BE49-F238E27FC236}">
                  <a16:creationId xmlns:a16="http://schemas.microsoft.com/office/drawing/2014/main" id="{03265339-0DAF-4B6B-AACD-882F02586A5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2026347">
              <a:off x="7453629" y="5308446"/>
              <a:ext cx="158198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200" b="1">
                  <a:solidFill>
                    <a:srgbClr val="000000"/>
                  </a:solidFill>
                </a:rPr>
                <a:t>Heating sequence</a:t>
              </a:r>
              <a:endParaRPr lang="de-CH" alt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20" name="Line 16">
              <a:extLst>
                <a:ext uri="{FF2B5EF4-FFF2-40B4-BE49-F238E27FC236}">
                  <a16:creationId xmlns:a16="http://schemas.microsoft.com/office/drawing/2014/main" id="{82E737F5-CCC4-49B6-B9D1-AF732FC305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94220" y="4917969"/>
              <a:ext cx="12854" cy="131934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21" name="Line 6">
              <a:extLst>
                <a:ext uri="{FF2B5EF4-FFF2-40B4-BE49-F238E27FC236}">
                  <a16:creationId xmlns:a16="http://schemas.microsoft.com/office/drawing/2014/main" id="{1F39F89A-851A-4266-88E1-CE9A3814F9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50331" y="6100554"/>
              <a:ext cx="1973180" cy="7764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3" name="Line 16">
              <a:extLst>
                <a:ext uri="{FF2B5EF4-FFF2-40B4-BE49-F238E27FC236}">
                  <a16:creationId xmlns:a16="http://schemas.microsoft.com/office/drawing/2014/main" id="{7C803B82-285B-4FCD-BF6D-01DA10F906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50331" y="4929501"/>
              <a:ext cx="1921759" cy="1153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24" name="Line 6">
              <a:extLst>
                <a:ext uri="{FF2B5EF4-FFF2-40B4-BE49-F238E27FC236}">
                  <a16:creationId xmlns:a16="http://schemas.microsoft.com/office/drawing/2014/main" id="{7F68CEE1-1489-484C-BF19-DEBBE5588A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43489" y="4948801"/>
              <a:ext cx="0" cy="1319343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5" name="Text Box 15">
              <a:extLst>
                <a:ext uri="{FF2B5EF4-FFF2-40B4-BE49-F238E27FC236}">
                  <a16:creationId xmlns:a16="http://schemas.microsoft.com/office/drawing/2014/main" id="{22A1253E-1314-4CA8-9FBC-32C80011B82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575714" y="6237312"/>
              <a:ext cx="72781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buFontTx/>
                <a:buNone/>
              </a:pPr>
              <a:r>
                <a:rPr lang="en-US" altLang="en-US" sz="1200" b="1">
                  <a:solidFill>
                    <a:srgbClr val="000000"/>
                  </a:solidFill>
                </a:rPr>
                <a:t>SPV</a:t>
              </a:r>
            </a:p>
          </p:txBody>
        </p:sp>
        <p:sp>
          <p:nvSpPr>
            <p:cNvPr id="26" name="Text Box 15">
              <a:extLst>
                <a:ext uri="{FF2B5EF4-FFF2-40B4-BE49-F238E27FC236}">
                  <a16:creationId xmlns:a16="http://schemas.microsoft.com/office/drawing/2014/main" id="{ABFA2E65-C729-4DC1-A255-252AAE106F3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439435" y="6465689"/>
              <a:ext cx="105929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buFontTx/>
                <a:buNone/>
              </a:pPr>
              <a:r>
                <a:rPr lang="en-US" altLang="en-US" sz="1200" b="1">
                  <a:solidFill>
                    <a:srgbClr val="000000"/>
                  </a:solidFill>
                </a:rPr>
                <a:t>21 deg C</a:t>
              </a:r>
            </a:p>
          </p:txBody>
        </p:sp>
        <p:sp>
          <p:nvSpPr>
            <p:cNvPr id="27" name="Text Box 15">
              <a:extLst>
                <a:ext uri="{FF2B5EF4-FFF2-40B4-BE49-F238E27FC236}">
                  <a16:creationId xmlns:a16="http://schemas.microsoft.com/office/drawing/2014/main" id="{08F5FBA9-CF77-4495-95DD-C8DA62D53FE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95978" y="5960313"/>
              <a:ext cx="72781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buFontTx/>
                <a:buNone/>
              </a:pPr>
              <a:r>
                <a:rPr lang="en-US" altLang="en-US" sz="1200" b="1">
                  <a:solidFill>
                    <a:srgbClr val="000000"/>
                  </a:solidFill>
                </a:rPr>
                <a:t>0 %</a:t>
              </a:r>
            </a:p>
          </p:txBody>
        </p:sp>
        <p:sp>
          <p:nvSpPr>
            <p:cNvPr id="28" name="Text Box 15">
              <a:extLst>
                <a:ext uri="{FF2B5EF4-FFF2-40B4-BE49-F238E27FC236}">
                  <a16:creationId xmlns:a16="http://schemas.microsoft.com/office/drawing/2014/main" id="{C25722F3-1E99-4072-85E0-A5469318312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80378" y="4785822"/>
              <a:ext cx="72781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buFontTx/>
                <a:buNone/>
              </a:pPr>
              <a:r>
                <a:rPr lang="en-US" altLang="en-US" sz="1200" b="1">
                  <a:solidFill>
                    <a:srgbClr val="000000"/>
                  </a:solidFill>
                </a:rPr>
                <a:t>100 %</a:t>
              </a:r>
            </a:p>
          </p:txBody>
        </p:sp>
        <p:sp>
          <p:nvSpPr>
            <p:cNvPr id="29" name="Text Box 15">
              <a:extLst>
                <a:ext uri="{FF2B5EF4-FFF2-40B4-BE49-F238E27FC236}">
                  <a16:creationId xmlns:a16="http://schemas.microsoft.com/office/drawing/2014/main" id="{0AB29705-3297-4EDC-9FA8-009B694CB6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04176" y="6465689"/>
              <a:ext cx="105929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buFontTx/>
                <a:buNone/>
              </a:pPr>
              <a:r>
                <a:rPr lang="en-US" altLang="en-US" sz="1200" b="1">
                  <a:solidFill>
                    <a:srgbClr val="000000"/>
                  </a:solidFill>
                </a:rPr>
                <a:t>16 deg C</a:t>
              </a:r>
            </a:p>
          </p:txBody>
        </p:sp>
        <p:sp>
          <p:nvSpPr>
            <p:cNvPr id="30" name="Text Box 15">
              <a:extLst>
                <a:ext uri="{FF2B5EF4-FFF2-40B4-BE49-F238E27FC236}">
                  <a16:creationId xmlns:a16="http://schemas.microsoft.com/office/drawing/2014/main" id="{D79D75EE-4DE1-4E27-B7BB-784417C3CC5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18716" y="6100554"/>
              <a:ext cx="1405358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buFontTx/>
                <a:buNone/>
              </a:pPr>
              <a:r>
                <a:rPr lang="en-US" altLang="en-US" sz="1100" b="1">
                  <a:solidFill>
                    <a:srgbClr val="FF0000"/>
                  </a:solidFill>
                </a:rPr>
                <a:t>Proportional band 5 deg K</a:t>
              </a:r>
            </a:p>
          </p:txBody>
        </p:sp>
        <p:sp>
          <p:nvSpPr>
            <p:cNvPr id="31" name="Text Box 15">
              <a:extLst>
                <a:ext uri="{FF2B5EF4-FFF2-40B4-BE49-F238E27FC236}">
                  <a16:creationId xmlns:a16="http://schemas.microsoft.com/office/drawing/2014/main" id="{87C204F7-A9A6-4AC7-88D6-9933E1239A0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14041" y="5317321"/>
              <a:ext cx="72781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buFontTx/>
                <a:buNone/>
              </a:pPr>
              <a:r>
                <a:rPr lang="en-US" altLang="en-US" sz="1200" b="1">
                  <a:solidFill>
                    <a:srgbClr val="000000"/>
                  </a:solidFill>
                </a:rPr>
                <a:t>Output</a:t>
              </a:r>
              <a:endParaRPr lang="de-CH" altLang="en-US" sz="1200" b="1">
                <a:solidFill>
                  <a:srgbClr val="000000"/>
                </a:solidFill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264F1BC-DFEF-48FC-BF35-0D28B2E19A55}"/>
              </a:ext>
            </a:extLst>
          </p:cNvPr>
          <p:cNvGrpSpPr/>
          <p:nvPr/>
        </p:nvGrpSpPr>
        <p:grpSpPr>
          <a:xfrm>
            <a:off x="2745673" y="5657227"/>
            <a:ext cx="5722896" cy="687047"/>
            <a:chOff x="2764396" y="5949280"/>
            <a:chExt cx="5724386" cy="687227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AC427F80-887B-4B82-8FE0-EBDF2CB05DFA}"/>
                </a:ext>
              </a:extLst>
            </p:cNvPr>
            <p:cNvGrpSpPr/>
            <p:nvPr/>
          </p:nvGrpSpPr>
          <p:grpSpPr>
            <a:xfrm>
              <a:off x="2764396" y="5960367"/>
              <a:ext cx="2868538" cy="639564"/>
              <a:chOff x="698509" y="5802411"/>
              <a:chExt cx="2868538" cy="639564"/>
            </a:xfrm>
          </p:grpSpPr>
          <p:sp>
            <p:nvSpPr>
              <p:cNvPr id="11" name="Text Box 5">
                <a:extLst>
                  <a:ext uri="{FF2B5EF4-FFF2-40B4-BE49-F238E27FC236}">
                    <a16:creationId xmlns:a16="http://schemas.microsoft.com/office/drawing/2014/main" id="{1F113031-6C9B-4941-8652-AAF6D1EB873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98509" y="5942598"/>
                <a:ext cx="603050" cy="338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>
                <a:spAutoFit/>
              </a:bodyPr>
              <a:lstStyle>
                <a:lvl1pPr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spcBef>
                    <a:spcPct val="50000"/>
                  </a:spcBef>
                  <a:buFontTx/>
                  <a:buNone/>
                </a:pPr>
                <a:r>
                  <a:rPr lang="en-US" altLang="en-US" sz="1400">
                    <a:solidFill>
                      <a:srgbClr val="000000"/>
                    </a:solidFill>
                  </a:rPr>
                  <a:t>KP</a:t>
                </a:r>
                <a:r>
                  <a:rPr lang="en-US" altLang="en-US" sz="1600">
                    <a:solidFill>
                      <a:srgbClr val="000000"/>
                    </a:solidFill>
                  </a:rPr>
                  <a:t> =</a:t>
                </a:r>
                <a:endParaRPr lang="de-DE" altLang="en-US" sz="1600"/>
              </a:p>
            </p:txBody>
          </p:sp>
          <p:sp>
            <p:nvSpPr>
              <p:cNvPr id="13" name="Text Box 6">
                <a:extLst>
                  <a:ext uri="{FF2B5EF4-FFF2-40B4-BE49-F238E27FC236}">
                    <a16:creationId xmlns:a16="http://schemas.microsoft.com/office/drawing/2014/main" id="{1A885A2D-FBEC-482C-B06B-FC99D62A23D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404275" y="5802411"/>
                <a:ext cx="2162772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>
                <a:spAutoFit/>
              </a:bodyPr>
              <a:lstStyle>
                <a:lvl1pPr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spcBef>
                    <a:spcPct val="50000"/>
                  </a:spcBef>
                  <a:buFontTx/>
                  <a:buNone/>
                </a:pPr>
                <a:r>
                  <a:rPr lang="en-US" altLang="en-US" sz="1400">
                    <a:solidFill>
                      <a:srgbClr val="000000"/>
                    </a:solidFill>
                  </a:rPr>
                  <a:t>max. output - min. output</a:t>
                </a:r>
                <a:endParaRPr lang="de-DE" alt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Line 7">
                <a:extLst>
                  <a:ext uri="{FF2B5EF4-FFF2-40B4-BE49-F238E27FC236}">
                    <a16:creationId xmlns:a16="http://schemas.microsoft.com/office/drawing/2014/main" id="{0E04A190-DF55-487C-B636-EE47D7B5AD4F}"/>
                  </a:ext>
                </a:extLst>
              </p:cNvPr>
              <p:cNvSpPr>
                <a:spLocks noChangeShapeType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334204" y="6111874"/>
                <a:ext cx="2224618" cy="7937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square" anchor="ctr">
                <a:spAutoFit/>
              </a:bodyPr>
              <a:lstStyle/>
              <a:p>
                <a:endParaRPr lang="en-GB"/>
              </a:p>
            </p:txBody>
          </p:sp>
          <p:sp>
            <p:nvSpPr>
              <p:cNvPr id="15" name="Text Box 8">
                <a:extLst>
                  <a:ext uri="{FF2B5EF4-FFF2-40B4-BE49-F238E27FC236}">
                    <a16:creationId xmlns:a16="http://schemas.microsoft.com/office/drawing/2014/main" id="{A14356CA-29C8-4A63-A7FD-FF26A763CCF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433848" y="6134198"/>
                <a:ext cx="1984839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>
                <a:spAutoFit/>
              </a:bodyPr>
              <a:lstStyle>
                <a:lvl1pPr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spcBef>
                    <a:spcPct val="50000"/>
                  </a:spcBef>
                  <a:buFontTx/>
                  <a:buNone/>
                </a:pPr>
                <a:r>
                  <a:rPr lang="en-US" altLang="en-US" sz="1400">
                    <a:solidFill>
                      <a:srgbClr val="000000"/>
                    </a:solidFill>
                  </a:rPr>
                  <a:t>proportional band (XP)</a:t>
                </a:r>
                <a:endParaRPr lang="de-DE" altLang="en-US" sz="1400"/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A7E25672-7498-4C83-BA4E-0B3005D01BD0}"/>
                </a:ext>
              </a:extLst>
            </p:cNvPr>
            <p:cNvGrpSpPr/>
            <p:nvPr/>
          </p:nvGrpSpPr>
          <p:grpSpPr>
            <a:xfrm>
              <a:off x="5847147" y="5955469"/>
              <a:ext cx="1179999" cy="681038"/>
              <a:chOff x="7124847" y="4971248"/>
              <a:chExt cx="1179999" cy="681038"/>
            </a:xfrm>
          </p:grpSpPr>
          <p:sp>
            <p:nvSpPr>
              <p:cNvPr id="33" name="Text Box 12">
                <a:extLst>
                  <a:ext uri="{FF2B5EF4-FFF2-40B4-BE49-F238E27FC236}">
                    <a16:creationId xmlns:a16="http://schemas.microsoft.com/office/drawing/2014/main" id="{53A2B157-6BAF-4C24-B006-0DB01DF78C34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7124847" y="4971248"/>
                <a:ext cx="1179999" cy="3365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>
                <a:spAutoFit/>
              </a:bodyPr>
              <a:lstStyle>
                <a:lvl1pPr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spcBef>
                    <a:spcPct val="50000"/>
                  </a:spcBef>
                  <a:buFontTx/>
                  <a:buNone/>
                </a:pPr>
                <a:r>
                  <a:rPr lang="de-DE" altLang="en-US" sz="1600"/>
                  <a:t>100% - 0%</a:t>
                </a:r>
              </a:p>
            </p:txBody>
          </p:sp>
          <p:sp>
            <p:nvSpPr>
              <p:cNvPr id="34" name="Line 13">
                <a:extLst>
                  <a:ext uri="{FF2B5EF4-FFF2-40B4-BE49-F238E27FC236}">
                    <a16:creationId xmlns:a16="http://schemas.microsoft.com/office/drawing/2014/main" id="{970D68D8-C727-415A-AD71-E4397F28761C}"/>
                  </a:ext>
                </a:extLst>
              </p:cNvPr>
              <p:cNvSpPr>
                <a:spLocks noChangeShapeType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7174730" y="5295098"/>
                <a:ext cx="1107754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>
                <a:spAutoFit/>
              </a:bodyPr>
              <a:lstStyle/>
              <a:p>
                <a:endParaRPr lang="en-GB"/>
              </a:p>
            </p:txBody>
          </p:sp>
          <p:sp>
            <p:nvSpPr>
              <p:cNvPr id="35" name="Text Box 14">
                <a:extLst>
                  <a:ext uri="{FF2B5EF4-FFF2-40B4-BE49-F238E27FC236}">
                    <a16:creationId xmlns:a16="http://schemas.microsoft.com/office/drawing/2014/main" id="{7A7D3FF7-F22C-4DF3-A270-6AFFCBC4D2E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553155" y="5315736"/>
                <a:ext cx="297580" cy="3365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>
                <a:spAutoFit/>
              </a:bodyPr>
              <a:lstStyle>
                <a:lvl1pPr>
                  <a:buFont typeface="Wingdings" panose="05000000000000000000" pitchFamily="2" charset="2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5000"/>
                  </a:spcBef>
                  <a:spcAft>
                    <a:spcPct val="2500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>
                  <a:spcBef>
                    <a:spcPct val="50000"/>
                  </a:spcBef>
                  <a:buFontTx/>
                  <a:buNone/>
                </a:pPr>
                <a:r>
                  <a:rPr lang="de-DE" altLang="en-US" sz="1600"/>
                  <a:t>5</a:t>
                </a:r>
              </a:p>
            </p:txBody>
          </p:sp>
        </p:grpSp>
        <p:sp>
          <p:nvSpPr>
            <p:cNvPr id="36" name="Text Box 15">
              <a:extLst>
                <a:ext uri="{FF2B5EF4-FFF2-40B4-BE49-F238E27FC236}">
                  <a16:creationId xmlns:a16="http://schemas.microsoft.com/office/drawing/2014/main" id="{1BF39AD0-3581-46DB-9BA1-70F3DC51796D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7344105" y="5949280"/>
              <a:ext cx="521195" cy="336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buFontTx/>
                <a:buNone/>
              </a:pPr>
              <a:r>
                <a:rPr lang="de-DE" altLang="en-US" sz="1600"/>
                <a:t>100</a:t>
              </a:r>
            </a:p>
          </p:txBody>
        </p:sp>
        <p:sp>
          <p:nvSpPr>
            <p:cNvPr id="37" name="Line 16">
              <a:extLst>
                <a:ext uri="{FF2B5EF4-FFF2-40B4-BE49-F238E27FC236}">
                  <a16:creationId xmlns:a16="http://schemas.microsoft.com/office/drawing/2014/main" id="{734919BE-AEED-48AF-895C-C4C610CA2420}"/>
                </a:ext>
              </a:extLst>
            </p:cNvPr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7376787" y="6273130"/>
              <a:ext cx="44895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>
              <a:spAutoFit/>
            </a:bodyPr>
            <a:lstStyle/>
            <a:p>
              <a:endParaRPr lang="en-GB"/>
            </a:p>
          </p:txBody>
        </p:sp>
        <p:sp>
          <p:nvSpPr>
            <p:cNvPr id="38" name="Text Box 17">
              <a:extLst>
                <a:ext uri="{FF2B5EF4-FFF2-40B4-BE49-F238E27FC236}">
                  <a16:creationId xmlns:a16="http://schemas.microsoft.com/office/drawing/2014/main" id="{E96DF4A9-1BAC-491C-A249-7BFFECC33704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7445592" y="6293767"/>
              <a:ext cx="295860" cy="336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buFontTx/>
                <a:buNone/>
              </a:pPr>
              <a:r>
                <a:rPr lang="de-DE" altLang="en-US" sz="1600"/>
                <a:t>5</a:t>
              </a:r>
            </a:p>
          </p:txBody>
        </p:sp>
        <p:sp>
          <p:nvSpPr>
            <p:cNvPr id="40" name="Text Box 19">
              <a:extLst>
                <a:ext uri="{FF2B5EF4-FFF2-40B4-BE49-F238E27FC236}">
                  <a16:creationId xmlns:a16="http://schemas.microsoft.com/office/drawing/2014/main" id="{29905FB3-3C63-467C-BC7A-6CE636BC70C4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7827367" y="6099646"/>
              <a:ext cx="304460" cy="336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buFontTx/>
                <a:buNone/>
              </a:pPr>
              <a:r>
                <a:rPr lang="de-DE" altLang="en-US" sz="1600"/>
                <a:t>=</a:t>
              </a:r>
            </a:p>
          </p:txBody>
        </p:sp>
        <p:sp>
          <p:nvSpPr>
            <p:cNvPr id="41" name="Text Box 20">
              <a:extLst>
                <a:ext uri="{FF2B5EF4-FFF2-40B4-BE49-F238E27FC236}">
                  <a16:creationId xmlns:a16="http://schemas.microsoft.com/office/drawing/2014/main" id="{F6AC1776-A041-44B1-B589-89CD51410A5F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8079395" y="6093296"/>
              <a:ext cx="409387" cy="336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buFontTx/>
                <a:buNone/>
              </a:pPr>
              <a:r>
                <a:rPr lang="de-DE" altLang="en-US" sz="1600" b="1"/>
                <a:t>20</a:t>
              </a:r>
            </a:p>
          </p:txBody>
        </p:sp>
        <p:sp>
          <p:nvSpPr>
            <p:cNvPr id="44" name="Text Box 11">
              <a:extLst>
                <a:ext uri="{FF2B5EF4-FFF2-40B4-BE49-F238E27FC236}">
                  <a16:creationId xmlns:a16="http://schemas.microsoft.com/office/drawing/2014/main" id="{B33E9F7F-3A1D-417A-B3C1-D2BA44B18A0A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595119" y="6097161"/>
              <a:ext cx="304891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buFontTx/>
                <a:buNone/>
              </a:pPr>
              <a:r>
                <a:rPr lang="de-DE" altLang="en-US" sz="1600"/>
                <a:t>=</a:t>
              </a:r>
            </a:p>
          </p:txBody>
        </p:sp>
        <p:sp>
          <p:nvSpPr>
            <p:cNvPr id="46" name="Text Box 19">
              <a:extLst>
                <a:ext uri="{FF2B5EF4-FFF2-40B4-BE49-F238E27FC236}">
                  <a16:creationId xmlns:a16="http://schemas.microsoft.com/office/drawing/2014/main" id="{04BF9037-6299-4A2F-ACAC-A40FAEC16B22}"/>
                </a:ext>
              </a:extLst>
            </p:cNvPr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7038024" y="6107754"/>
              <a:ext cx="304460" cy="336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  <a:buFontTx/>
                <a:buNone/>
              </a:pPr>
              <a:r>
                <a:rPr lang="de-DE" altLang="en-US" sz="1600"/>
                <a:t>=</a:t>
              </a:r>
            </a:p>
          </p:txBody>
        </p:sp>
      </p:grpSp>
      <p:sp>
        <p:nvSpPr>
          <p:cNvPr id="69" name="cdtText Box 4 Id114692">
            <a:extLst>
              <a:ext uri="{FF2B5EF4-FFF2-40B4-BE49-F238E27FC236}">
                <a16:creationId xmlns:a16="http://schemas.microsoft.com/office/drawing/2014/main" id="{0EBD6FEC-7EE9-440C-BC99-39CEBEC613F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159999" y="1084"/>
            <a:ext cx="10035175" cy="468000"/>
          </a:xfrm>
          <a:prstGeom prst="rect">
            <a:avLst/>
          </a:prstGeom>
          <a:gradFill>
            <a:gsLst>
              <a:gs pos="58000">
                <a:srgbClr val="00315F"/>
              </a:gs>
              <a:gs pos="6000">
                <a:srgbClr val="00022B"/>
              </a:gs>
              <a:gs pos="100000">
                <a:srgbClr val="0080B6"/>
              </a:gs>
            </a:gsLst>
            <a:lin ang="0" scaled="0"/>
          </a:gradFill>
          <a:ln>
            <a:noFill/>
          </a:ln>
          <a:effectLst/>
        </p:spPr>
        <p:txBody>
          <a:bodyPr wrap="square" lIns="143963" tIns="143963" rIns="143963" bIns="143963" numCol="1" spcCol="72000" rtlCol="0" anchor="ctr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</a:rPr>
              <a:t>Loop controller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FF9F9C88-3FA7-416E-B410-BE947F05A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1" name="Textfeld 337">
            <a:extLst>
              <a:ext uri="{FF2B5EF4-FFF2-40B4-BE49-F238E27FC236}">
                <a16:creationId xmlns:a16="http://schemas.microsoft.com/office/drawing/2014/main" id="{4A2EDCBE-1A5F-4183-AF71-56400F48B2A6}"/>
              </a:ext>
            </a:extLst>
          </p:cNvPr>
          <p:cNvSpPr txBox="1"/>
          <p:nvPr/>
        </p:nvSpPr>
        <p:spPr>
          <a:xfrm>
            <a:off x="7619" y="3651232"/>
            <a:ext cx="2160000" cy="222249"/>
          </a:xfrm>
          <a:prstGeom prst="rect">
            <a:avLst/>
          </a:prstGeom>
          <a:solidFill>
            <a:srgbClr val="0080B6"/>
          </a:solidFill>
        </p:spPr>
        <p:txBody>
          <a:bodyPr wrap="square" lIns="54000" tIns="0" rIns="0" bIns="0" rtlCol="0" anchor="ctr" anchorCtr="0">
            <a:noAutofit/>
          </a:bodyPr>
          <a:lstStyle>
            <a:defPPr>
              <a:defRPr lang="de-DE"/>
            </a:defPPr>
            <a:lvl1pPr algn="l">
              <a:lnSpc>
                <a:spcPct val="110000"/>
              </a:lnSpc>
              <a:spcBef>
                <a:spcPts val="0"/>
              </a:spcBef>
              <a:defRPr sz="1100" b="1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r>
              <a:rPr lang="en-US" sz="1100" b="0">
                <a:latin typeface="+mj-lt"/>
              </a:rPr>
              <a:t>– </a:t>
            </a:r>
            <a:r>
              <a:rPr lang="en-US" sz="1100" b="0" kern="1200">
                <a:latin typeface="+mj-lt"/>
                <a:ea typeface="+mn-ea"/>
              </a:rPr>
              <a:t>HVAC control functions</a:t>
            </a:r>
            <a:endParaRPr lang="en-US" sz="1100" b="0" u="none" strike="noStrike" kern="1200">
              <a:effectLst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23929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noProof="0"/>
            </a:br>
            <a:endParaRPr lang="en-US" noProof="0"/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50E17820-B62F-4719-80D9-FEC26EF1D7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410" y="612837"/>
            <a:ext cx="5549976" cy="2697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b="1" kern="0"/>
              <a:t>Sequence</a:t>
            </a:r>
            <a:r>
              <a:rPr lang="en-US" altLang="en-US" sz="1600" kern="0"/>
              <a:t> (</a:t>
            </a:r>
            <a:r>
              <a:rPr lang="en-US" altLang="en-US" sz="1600" kern="0" err="1"/>
              <a:t>SQxx</a:t>
            </a:r>
            <a:r>
              <a:rPr lang="en-US" altLang="en-US" sz="1600" kern="0"/>
              <a:t>) inputs and outputs to avoid multiple controllers operating simultaneously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kern="0"/>
              <a:t>If there is </a:t>
            </a:r>
            <a:r>
              <a:rPr lang="en-US" altLang="en-US" sz="1600" b="1" kern="0"/>
              <a:t>more than one </a:t>
            </a:r>
            <a:r>
              <a:rPr lang="en-US" altLang="en-US" sz="1600" kern="0"/>
              <a:t>controller in a sequence (e.g. heating and cooling), use the sequence in/outputs of the loop controller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kern="0"/>
              <a:t>Sequence </a:t>
            </a:r>
            <a:r>
              <a:rPr lang="en-US" altLang="en-US" sz="1600" kern="0">
                <a:highlight>
                  <a:srgbClr val="00FF00"/>
                </a:highlight>
              </a:rPr>
              <a:t>inputs</a:t>
            </a:r>
            <a:r>
              <a:rPr lang="en-US" altLang="en-US" sz="1600" kern="0"/>
              <a:t>:		Sequence </a:t>
            </a:r>
            <a:r>
              <a:rPr lang="en-US" altLang="en-US" sz="1600" kern="0">
                <a:highlight>
                  <a:srgbClr val="00FFFF"/>
                </a:highlight>
              </a:rPr>
              <a:t>outputs</a:t>
            </a:r>
            <a:r>
              <a:rPr lang="en-US" altLang="en-US" sz="1600" kern="0"/>
              <a:t>: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altLang="en-US" sz="1600" kern="0"/>
              <a:t>SQ</a:t>
            </a:r>
            <a:r>
              <a:rPr lang="en-US" altLang="en-US" sz="1600" b="1" kern="0">
                <a:highlight>
                  <a:srgbClr val="00FF00"/>
                </a:highlight>
              </a:rPr>
              <a:t>F</a:t>
            </a:r>
            <a:r>
              <a:rPr lang="en-US" altLang="en-US" sz="1600" kern="0"/>
              <a:t>M – from more	SQ</a:t>
            </a:r>
            <a:r>
              <a:rPr lang="en-US" altLang="en-US" sz="1600" b="1" kern="0">
                <a:highlight>
                  <a:srgbClr val="00FFFF"/>
                </a:highlight>
              </a:rPr>
              <a:t>T</a:t>
            </a:r>
            <a:r>
              <a:rPr lang="en-US" altLang="en-US" sz="1600" kern="0"/>
              <a:t>M – to more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altLang="en-US" sz="1600" kern="0"/>
              <a:t>SQ</a:t>
            </a:r>
            <a:r>
              <a:rPr lang="en-US" altLang="en-US" sz="1600" b="1" kern="0">
                <a:highlight>
                  <a:srgbClr val="00FF00"/>
                </a:highlight>
              </a:rPr>
              <a:t>F</a:t>
            </a:r>
            <a:r>
              <a:rPr lang="en-US" altLang="en-US" sz="1600" kern="0"/>
              <a:t>L – from less	SQ</a:t>
            </a:r>
            <a:r>
              <a:rPr lang="en-US" altLang="en-US" sz="1600" b="1" kern="0">
                <a:highlight>
                  <a:srgbClr val="00FFFF"/>
                </a:highlight>
              </a:rPr>
              <a:t>T</a:t>
            </a:r>
            <a:r>
              <a:rPr lang="en-US" altLang="en-US" sz="1600" kern="0"/>
              <a:t>L – to less </a:t>
            </a:r>
          </a:p>
          <a:p>
            <a:pPr lvl="2">
              <a:buFont typeface="Wingdings" panose="05000000000000000000" pitchFamily="2" charset="2"/>
              <a:buChar char="§"/>
            </a:pPr>
            <a:endParaRPr lang="en-US" altLang="en-US" sz="1600" kern="0"/>
          </a:p>
        </p:txBody>
      </p:sp>
      <p:sp>
        <p:nvSpPr>
          <p:cNvPr id="58" name="cdtText Box 4 Id114692">
            <a:extLst>
              <a:ext uri="{FF2B5EF4-FFF2-40B4-BE49-F238E27FC236}">
                <a16:creationId xmlns:a16="http://schemas.microsoft.com/office/drawing/2014/main" id="{70AA70CA-E988-4926-9F8E-B6C23C616BF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159999" y="1084"/>
            <a:ext cx="10035175" cy="468000"/>
          </a:xfrm>
          <a:prstGeom prst="rect">
            <a:avLst/>
          </a:prstGeom>
          <a:gradFill>
            <a:gsLst>
              <a:gs pos="58000">
                <a:srgbClr val="00315F"/>
              </a:gs>
              <a:gs pos="6000">
                <a:srgbClr val="00022B"/>
              </a:gs>
              <a:gs pos="100000">
                <a:srgbClr val="0080B6"/>
              </a:gs>
            </a:gsLst>
            <a:lin ang="0" scaled="0"/>
          </a:gradFill>
          <a:ln>
            <a:noFill/>
          </a:ln>
          <a:effectLst/>
        </p:spPr>
        <p:txBody>
          <a:bodyPr wrap="square" lIns="143963" tIns="143963" rIns="143963" bIns="143963" numCol="1" spcCol="72000" rtlCol="0" anchor="ctr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</a:rPr>
              <a:t>Loop controller </a:t>
            </a:r>
            <a:r>
              <a:rPr lang="en-US" sz="1600">
                <a:solidFill>
                  <a:schemeClr val="bg1"/>
                </a:solidFill>
                <a:sym typeface="Wingdings" panose="05000000000000000000" pitchFamily="2" charset="2"/>
              </a:rPr>
              <a:t> </a:t>
            </a:r>
            <a:r>
              <a:rPr lang="en-US" sz="1600">
                <a:solidFill>
                  <a:schemeClr val="bg1"/>
                </a:solidFill>
              </a:rPr>
              <a:t>Exercise 2,3,4</a:t>
            </a:r>
          </a:p>
        </p:txBody>
      </p:sp>
      <p:sp>
        <p:nvSpPr>
          <p:cNvPr id="60" name="Textfeld 337">
            <a:extLst>
              <a:ext uri="{FF2B5EF4-FFF2-40B4-BE49-F238E27FC236}">
                <a16:creationId xmlns:a16="http://schemas.microsoft.com/office/drawing/2014/main" id="{B93B4D5B-47CA-498B-A05B-66098F308F51}"/>
              </a:ext>
            </a:extLst>
          </p:cNvPr>
          <p:cNvSpPr txBox="1"/>
          <p:nvPr/>
        </p:nvSpPr>
        <p:spPr>
          <a:xfrm>
            <a:off x="7619" y="3651232"/>
            <a:ext cx="2160000" cy="222249"/>
          </a:xfrm>
          <a:prstGeom prst="rect">
            <a:avLst/>
          </a:prstGeom>
          <a:solidFill>
            <a:srgbClr val="0080B6"/>
          </a:solidFill>
        </p:spPr>
        <p:txBody>
          <a:bodyPr wrap="square" lIns="54000" tIns="0" rIns="0" bIns="0" rtlCol="0" anchor="ctr" anchorCtr="0">
            <a:noAutofit/>
          </a:bodyPr>
          <a:lstStyle>
            <a:defPPr>
              <a:defRPr lang="de-DE"/>
            </a:defPPr>
            <a:lvl1pPr algn="l">
              <a:lnSpc>
                <a:spcPct val="110000"/>
              </a:lnSpc>
              <a:spcBef>
                <a:spcPts val="0"/>
              </a:spcBef>
              <a:defRPr sz="1100" b="1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r>
              <a:rPr lang="en-US" sz="1100" b="0">
                <a:latin typeface="+mj-lt"/>
              </a:rPr>
              <a:t>– </a:t>
            </a:r>
            <a:r>
              <a:rPr lang="en-US" sz="1100" b="0" kern="1200">
                <a:latin typeface="+mj-lt"/>
                <a:ea typeface="+mn-ea"/>
              </a:rPr>
              <a:t>HVAC control functions</a:t>
            </a:r>
            <a:endParaRPr lang="en-US" sz="1100" b="0" u="none" strike="noStrike" kern="1200">
              <a:effectLst/>
              <a:latin typeface="+mj-lt"/>
              <a:ea typeface="+mn-ea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9BAFB46-7A25-497A-AF7B-0F1F8C31618D}"/>
              </a:ext>
            </a:extLst>
          </p:cNvPr>
          <p:cNvGrpSpPr/>
          <p:nvPr/>
        </p:nvGrpSpPr>
        <p:grpSpPr>
          <a:xfrm>
            <a:off x="8161807" y="828495"/>
            <a:ext cx="3749158" cy="4356807"/>
            <a:chOff x="1625231" y="1601358"/>
            <a:chExt cx="3749158" cy="4357940"/>
          </a:xfrm>
        </p:grpSpPr>
        <p:sp>
          <p:nvSpPr>
            <p:cNvPr id="22" name="Line 5">
              <a:extLst>
                <a:ext uri="{FF2B5EF4-FFF2-40B4-BE49-F238E27FC236}">
                  <a16:creationId xmlns:a16="http://schemas.microsoft.com/office/drawing/2014/main" id="{AF761073-8DF1-458B-9E2F-4F0A068ADD0E}"/>
                </a:ext>
              </a:extLst>
            </p:cNvPr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 rot="5400000" flipH="1">
              <a:off x="832899" y="3741163"/>
              <a:ext cx="2043795" cy="16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3" name="Text Box 6">
              <a:extLst>
                <a:ext uri="{FF2B5EF4-FFF2-40B4-BE49-F238E27FC236}">
                  <a16:creationId xmlns:a16="http://schemas.microsoft.com/office/drawing/2014/main" id="{338FF659-1302-416F-B7B7-F97C519A1DA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5400000">
              <a:off x="852072" y="3555759"/>
              <a:ext cx="2463479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b="1">
                  <a:solidFill>
                    <a:srgbClr val="FF0000"/>
                  </a:solidFill>
                </a:rPr>
                <a:t>SQTM</a:t>
              </a:r>
              <a:r>
                <a:rPr lang="en-US" altLang="en-US" b="1">
                  <a:solidFill>
                    <a:srgbClr val="000000"/>
                  </a:solidFill>
                </a:rPr>
                <a:t>       </a:t>
              </a:r>
              <a:r>
                <a:rPr lang="en-US" altLang="en-US" b="1">
                  <a:solidFill>
                    <a:srgbClr val="0000FF"/>
                  </a:solidFill>
                </a:rPr>
                <a:t>SQTL</a:t>
              </a:r>
              <a:endParaRPr lang="de-CH" altLang="en-US" b="1">
                <a:solidFill>
                  <a:srgbClr val="0000FF"/>
                </a:solidFill>
              </a:endParaRPr>
            </a:p>
          </p:txBody>
        </p:sp>
        <p:cxnSp>
          <p:nvCxnSpPr>
            <p:cNvPr id="24" name="AutoShape 7">
              <a:extLst>
                <a:ext uri="{FF2B5EF4-FFF2-40B4-BE49-F238E27FC236}">
                  <a16:creationId xmlns:a16="http://schemas.microsoft.com/office/drawing/2014/main" id="{9CD228B5-1780-4E78-B298-779EAF85AA96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 flipV="1">
              <a:off x="2710020" y="3892957"/>
              <a:ext cx="2254712" cy="1225744"/>
            </a:xfrm>
            <a:prstGeom prst="bentConnector5">
              <a:avLst>
                <a:gd name="adj1" fmla="val -10222"/>
                <a:gd name="adj2" fmla="val 50000"/>
                <a:gd name="adj3" fmla="val 110222"/>
              </a:avLst>
            </a:prstGeom>
            <a:noFill/>
            <a:ln w="38100">
              <a:solidFill>
                <a:srgbClr val="FF0000"/>
              </a:solidFill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AutoShape 8">
              <a:extLst>
                <a:ext uri="{FF2B5EF4-FFF2-40B4-BE49-F238E27FC236}">
                  <a16:creationId xmlns:a16="http://schemas.microsoft.com/office/drawing/2014/main" id="{BB567DEB-D07A-4E4B-A6F0-26072E11FBBD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>
              <a:off x="2711620" y="2267514"/>
              <a:ext cx="2241911" cy="1272376"/>
            </a:xfrm>
            <a:prstGeom prst="bentConnector5">
              <a:avLst>
                <a:gd name="adj1" fmla="val -19347"/>
                <a:gd name="adj2" fmla="val 68898"/>
                <a:gd name="adj3" fmla="val 110278"/>
              </a:avLst>
            </a:prstGeom>
            <a:noFill/>
            <a:ln w="38100">
              <a:solidFill>
                <a:srgbClr val="0000FF"/>
              </a:solidFill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6" name="Line 9">
              <a:extLst>
                <a:ext uri="{FF2B5EF4-FFF2-40B4-BE49-F238E27FC236}">
                  <a16:creationId xmlns:a16="http://schemas.microsoft.com/office/drawing/2014/main" id="{C778615C-666C-4DDD-A31E-B73CAC1070A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628686" y="2901703"/>
              <a:ext cx="484867" cy="1332"/>
            </a:xfrm>
            <a:prstGeom prst="line">
              <a:avLst/>
            </a:prstGeom>
            <a:noFill/>
            <a:ln w="34925">
              <a:solidFill>
                <a:srgbClr val="FF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27" name="Line 10">
              <a:extLst>
                <a:ext uri="{FF2B5EF4-FFF2-40B4-BE49-F238E27FC236}">
                  <a16:creationId xmlns:a16="http://schemas.microsoft.com/office/drawing/2014/main" id="{26DFE6A6-FE92-4145-A691-7EB881B2EBC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62152" y="2901703"/>
              <a:ext cx="486467" cy="1332"/>
            </a:xfrm>
            <a:prstGeom prst="line">
              <a:avLst/>
            </a:prstGeom>
            <a:noFill/>
            <a:ln w="34925">
              <a:solidFill>
                <a:srgbClr val="FF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28" name="Line 11">
              <a:extLst>
                <a:ext uri="{FF2B5EF4-FFF2-40B4-BE49-F238E27FC236}">
                  <a16:creationId xmlns:a16="http://schemas.microsoft.com/office/drawing/2014/main" id="{AAA243E4-38E2-41B5-ABFA-20FBA7C6AB8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33210" y="2901703"/>
              <a:ext cx="484867" cy="1332"/>
            </a:xfrm>
            <a:prstGeom prst="line">
              <a:avLst/>
            </a:prstGeom>
            <a:noFill/>
            <a:ln w="34925">
              <a:solidFill>
                <a:srgbClr val="FF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29" name="Line 12">
              <a:extLst>
                <a:ext uri="{FF2B5EF4-FFF2-40B4-BE49-F238E27FC236}">
                  <a16:creationId xmlns:a16="http://schemas.microsoft.com/office/drawing/2014/main" id="{F10D8971-516F-4806-88DA-EE7C9163740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876720" y="3145520"/>
              <a:ext cx="484867" cy="1332"/>
            </a:xfrm>
            <a:prstGeom prst="line">
              <a:avLst/>
            </a:prstGeom>
            <a:noFill/>
            <a:ln w="34925">
              <a:solidFill>
                <a:srgbClr val="0000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30" name="Line 13">
              <a:extLst>
                <a:ext uri="{FF2B5EF4-FFF2-40B4-BE49-F238E27FC236}">
                  <a16:creationId xmlns:a16="http://schemas.microsoft.com/office/drawing/2014/main" id="{842DEE96-EAB0-44CF-93DE-803F4EA56AC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48564" y="3145520"/>
              <a:ext cx="484867" cy="1332"/>
            </a:xfrm>
            <a:prstGeom prst="line">
              <a:avLst/>
            </a:prstGeom>
            <a:noFill/>
            <a:ln w="34925">
              <a:solidFill>
                <a:srgbClr val="0000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31" name="Line 14">
              <a:extLst>
                <a:ext uri="{FF2B5EF4-FFF2-40B4-BE49-F238E27FC236}">
                  <a16:creationId xmlns:a16="http://schemas.microsoft.com/office/drawing/2014/main" id="{0DA81FC7-EA01-4744-A0F0-E4327FCF213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06006" y="3144187"/>
              <a:ext cx="486467" cy="1332"/>
            </a:xfrm>
            <a:prstGeom prst="line">
              <a:avLst/>
            </a:prstGeom>
            <a:noFill/>
            <a:ln w="34925">
              <a:solidFill>
                <a:srgbClr val="0000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cxnSp>
          <p:nvCxnSpPr>
            <p:cNvPr id="32" name="AutoShape 15">
              <a:extLst>
                <a:ext uri="{FF2B5EF4-FFF2-40B4-BE49-F238E27FC236}">
                  <a16:creationId xmlns:a16="http://schemas.microsoft.com/office/drawing/2014/main" id="{674D85D5-427C-4CC6-9027-2C784B38BB37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>
              <a:off x="2721222" y="3863646"/>
              <a:ext cx="2256313" cy="1275040"/>
            </a:xfrm>
            <a:prstGeom prst="bentConnector5">
              <a:avLst>
                <a:gd name="adj1" fmla="val -22130"/>
                <a:gd name="adj2" fmla="val 72412"/>
                <a:gd name="adj3" fmla="val 110213"/>
              </a:avLst>
            </a:prstGeom>
            <a:noFill/>
            <a:ln w="38100">
              <a:solidFill>
                <a:srgbClr val="0000FF"/>
              </a:solidFill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AutoShape 16">
              <a:extLst>
                <a:ext uri="{FF2B5EF4-FFF2-40B4-BE49-F238E27FC236}">
                  <a16:creationId xmlns:a16="http://schemas.microsoft.com/office/drawing/2014/main" id="{B43DF3BE-5082-4317-8D87-A2C61708298F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 flipV="1">
              <a:off x="2689217" y="2290163"/>
              <a:ext cx="2269114" cy="1223079"/>
            </a:xfrm>
            <a:prstGeom prst="bentConnector5">
              <a:avLst>
                <a:gd name="adj1" fmla="val -12907"/>
                <a:gd name="adj2" fmla="val 50000"/>
                <a:gd name="adj3" fmla="val 110157"/>
              </a:avLst>
            </a:prstGeom>
            <a:noFill/>
            <a:ln w="38100">
              <a:solidFill>
                <a:srgbClr val="FF0000"/>
              </a:solidFill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4" name="Line 17">
              <a:extLst>
                <a:ext uri="{FF2B5EF4-FFF2-40B4-BE49-F238E27FC236}">
                  <a16:creationId xmlns:a16="http://schemas.microsoft.com/office/drawing/2014/main" id="{57018691-C940-472E-A046-1F865C6BEBC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679893" y="4507161"/>
              <a:ext cx="484867" cy="1332"/>
            </a:xfrm>
            <a:prstGeom prst="line">
              <a:avLst/>
            </a:prstGeom>
            <a:noFill/>
            <a:ln w="34925">
              <a:solidFill>
                <a:srgbClr val="FF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35" name="Line 18">
              <a:extLst>
                <a:ext uri="{FF2B5EF4-FFF2-40B4-BE49-F238E27FC236}">
                  <a16:creationId xmlns:a16="http://schemas.microsoft.com/office/drawing/2014/main" id="{A29870DC-5BB4-4293-929C-1A9AE74052B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46964" y="4507161"/>
              <a:ext cx="486467" cy="1332"/>
            </a:xfrm>
            <a:prstGeom prst="line">
              <a:avLst/>
            </a:prstGeom>
            <a:noFill/>
            <a:ln w="34925">
              <a:solidFill>
                <a:srgbClr val="FF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36" name="Line 19">
              <a:extLst>
                <a:ext uri="{FF2B5EF4-FFF2-40B4-BE49-F238E27FC236}">
                  <a16:creationId xmlns:a16="http://schemas.microsoft.com/office/drawing/2014/main" id="{D94D9496-E3C5-4DAA-A1D8-281C0A17493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16421" y="4507161"/>
              <a:ext cx="484867" cy="1332"/>
            </a:xfrm>
            <a:prstGeom prst="line">
              <a:avLst/>
            </a:prstGeom>
            <a:noFill/>
            <a:ln w="34925">
              <a:solidFill>
                <a:srgbClr val="FF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37" name="Line 20">
              <a:extLst>
                <a:ext uri="{FF2B5EF4-FFF2-40B4-BE49-F238E27FC236}">
                  <a16:creationId xmlns:a16="http://schemas.microsoft.com/office/drawing/2014/main" id="{457A5466-6593-488B-AABD-DE460C3BFA4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887922" y="4786951"/>
              <a:ext cx="486467" cy="1332"/>
            </a:xfrm>
            <a:prstGeom prst="line">
              <a:avLst/>
            </a:prstGeom>
            <a:noFill/>
            <a:ln w="34925">
              <a:solidFill>
                <a:srgbClr val="0000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38" name="Line 21">
              <a:extLst>
                <a:ext uri="{FF2B5EF4-FFF2-40B4-BE49-F238E27FC236}">
                  <a16:creationId xmlns:a16="http://schemas.microsoft.com/office/drawing/2014/main" id="{3C91781E-D87C-404D-919E-13137FE21F4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59766" y="4786951"/>
              <a:ext cx="486467" cy="1332"/>
            </a:xfrm>
            <a:prstGeom prst="line">
              <a:avLst/>
            </a:prstGeom>
            <a:noFill/>
            <a:ln w="34925">
              <a:solidFill>
                <a:srgbClr val="0000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54" name="Line 22">
              <a:extLst>
                <a:ext uri="{FF2B5EF4-FFF2-40B4-BE49-F238E27FC236}">
                  <a16:creationId xmlns:a16="http://schemas.microsoft.com/office/drawing/2014/main" id="{32E66FAD-2610-46E9-B6CD-263905AA9E4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04406" y="4786951"/>
              <a:ext cx="484867" cy="1332"/>
            </a:xfrm>
            <a:prstGeom prst="line">
              <a:avLst/>
            </a:prstGeom>
            <a:noFill/>
            <a:ln w="34925">
              <a:solidFill>
                <a:srgbClr val="0000F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55" name="Text Box 34">
              <a:extLst>
                <a:ext uri="{FF2B5EF4-FFF2-40B4-BE49-F238E27FC236}">
                  <a16:creationId xmlns:a16="http://schemas.microsoft.com/office/drawing/2014/main" id="{B4210E4D-60EB-44EC-872F-8B1B76186B6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25231" y="1601358"/>
              <a:ext cx="1347387" cy="2770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200" b="1">
                  <a:solidFill>
                    <a:srgbClr val="000000"/>
                  </a:solidFill>
                </a:rPr>
                <a:t>Termination</a:t>
              </a:r>
              <a:endParaRPr lang="en-GB" alt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56" name="Text Box 35">
              <a:extLst>
                <a:ext uri="{FF2B5EF4-FFF2-40B4-BE49-F238E27FC236}">
                  <a16:creationId xmlns:a16="http://schemas.microsoft.com/office/drawing/2014/main" id="{CDF05A9F-BA65-4452-9AC2-8C30EAA6AEF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27110" y="5547789"/>
              <a:ext cx="1347387" cy="2770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200" b="1">
                  <a:solidFill>
                    <a:srgbClr val="000000"/>
                  </a:solidFill>
                </a:rPr>
                <a:t>Termination</a:t>
              </a:r>
              <a:endParaRPr lang="en-GB" altLang="en-US" sz="1200" b="1"/>
            </a:p>
          </p:txBody>
        </p:sp>
        <p:sp>
          <p:nvSpPr>
            <p:cNvPr id="57" name="Line 36">
              <a:extLst>
                <a:ext uri="{FF2B5EF4-FFF2-40B4-BE49-F238E27FC236}">
                  <a16:creationId xmlns:a16="http://schemas.microsoft.com/office/drawing/2014/main" id="{1C8A0742-176E-4CD7-9D55-94BD528B39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99937" y="1917111"/>
              <a:ext cx="108815" cy="1332"/>
            </a:xfrm>
            <a:prstGeom prst="line">
              <a:avLst/>
            </a:prstGeom>
            <a:noFill/>
            <a:ln w="635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59" name="Line 37">
              <a:extLst>
                <a:ext uri="{FF2B5EF4-FFF2-40B4-BE49-F238E27FC236}">
                  <a16:creationId xmlns:a16="http://schemas.microsoft.com/office/drawing/2014/main" id="{BF8174D7-6A61-40B9-AD99-010C5BCA09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99937" y="2268846"/>
              <a:ext cx="108815" cy="1332"/>
            </a:xfrm>
            <a:prstGeom prst="line">
              <a:avLst/>
            </a:prstGeom>
            <a:noFill/>
            <a:ln w="635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61" name="Line 38">
              <a:extLst>
                <a:ext uri="{FF2B5EF4-FFF2-40B4-BE49-F238E27FC236}">
                  <a16:creationId xmlns:a16="http://schemas.microsoft.com/office/drawing/2014/main" id="{643ACF7F-E563-4737-AAEA-62AAC350D0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00419" y="1961078"/>
              <a:ext cx="110415" cy="1332"/>
            </a:xfrm>
            <a:prstGeom prst="line">
              <a:avLst/>
            </a:prstGeom>
            <a:noFill/>
            <a:ln w="635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62" name="Line 39">
              <a:extLst>
                <a:ext uri="{FF2B5EF4-FFF2-40B4-BE49-F238E27FC236}">
                  <a16:creationId xmlns:a16="http://schemas.microsoft.com/office/drawing/2014/main" id="{1D5AF896-E284-4F4A-A986-645B2CF312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90818" y="2296825"/>
              <a:ext cx="108815" cy="1332"/>
            </a:xfrm>
            <a:prstGeom prst="line">
              <a:avLst/>
            </a:prstGeom>
            <a:noFill/>
            <a:ln w="635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63" name="Line 40">
              <a:extLst>
                <a:ext uri="{FF2B5EF4-FFF2-40B4-BE49-F238E27FC236}">
                  <a16:creationId xmlns:a16="http://schemas.microsoft.com/office/drawing/2014/main" id="{2FC1CD2B-CDF8-4FCC-A689-F7EDE69824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4738" y="3515907"/>
              <a:ext cx="108815" cy="1332"/>
            </a:xfrm>
            <a:prstGeom prst="line">
              <a:avLst/>
            </a:prstGeom>
            <a:noFill/>
            <a:ln w="635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64" name="Line 41">
              <a:extLst>
                <a:ext uri="{FF2B5EF4-FFF2-40B4-BE49-F238E27FC236}">
                  <a16:creationId xmlns:a16="http://schemas.microsoft.com/office/drawing/2014/main" id="{CCEADED5-2FED-49E0-B269-1FBA3408C6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1538" y="3867643"/>
              <a:ext cx="118416" cy="1332"/>
            </a:xfrm>
            <a:prstGeom prst="line">
              <a:avLst/>
            </a:prstGeom>
            <a:noFill/>
            <a:ln w="635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65" name="Line 42">
              <a:extLst>
                <a:ext uri="{FF2B5EF4-FFF2-40B4-BE49-F238E27FC236}">
                  <a16:creationId xmlns:a16="http://schemas.microsoft.com/office/drawing/2014/main" id="{3BCE35AF-0D4E-4A45-B6CA-E1E3796EB4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11620" y="3547883"/>
              <a:ext cx="108815" cy="1332"/>
            </a:xfrm>
            <a:prstGeom prst="line">
              <a:avLst/>
            </a:prstGeom>
            <a:noFill/>
            <a:ln w="635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66" name="Line 43">
              <a:extLst>
                <a:ext uri="{FF2B5EF4-FFF2-40B4-BE49-F238E27FC236}">
                  <a16:creationId xmlns:a16="http://schemas.microsoft.com/office/drawing/2014/main" id="{A2AF41FF-9A05-49AD-BA7F-8CE1033FEF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11620" y="3895622"/>
              <a:ext cx="108815" cy="1332"/>
            </a:xfrm>
            <a:prstGeom prst="line">
              <a:avLst/>
            </a:prstGeom>
            <a:noFill/>
            <a:ln w="635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67" name="Line 44">
              <a:extLst>
                <a:ext uri="{FF2B5EF4-FFF2-40B4-BE49-F238E27FC236}">
                  <a16:creationId xmlns:a16="http://schemas.microsoft.com/office/drawing/2014/main" id="{C690C524-9F9A-4344-A3D3-35FF656AB5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20740" y="3515907"/>
              <a:ext cx="108815" cy="1332"/>
            </a:xfrm>
            <a:prstGeom prst="line">
              <a:avLst/>
            </a:prstGeom>
            <a:noFill/>
            <a:ln w="635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68" name="Line 45">
              <a:extLst>
                <a:ext uri="{FF2B5EF4-FFF2-40B4-BE49-F238E27FC236}">
                  <a16:creationId xmlns:a16="http://schemas.microsoft.com/office/drawing/2014/main" id="{C9A89DDD-BDCF-4B1E-803C-355D32B6A0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4738" y="5114704"/>
              <a:ext cx="108815" cy="1332"/>
            </a:xfrm>
            <a:prstGeom prst="line">
              <a:avLst/>
            </a:prstGeom>
            <a:noFill/>
            <a:ln w="635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69" name="Rectangle 46">
              <a:extLst>
                <a:ext uri="{FF2B5EF4-FFF2-40B4-BE49-F238E27FC236}">
                  <a16:creationId xmlns:a16="http://schemas.microsoft.com/office/drawing/2014/main" id="{8ACE6B38-5515-4FCE-975D-521A4F08BF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7235" y="3350698"/>
              <a:ext cx="2190704" cy="968604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50000"/>
                </a:spcAft>
                <a:buFontTx/>
                <a:buNone/>
              </a:pPr>
              <a:endParaRPr lang="en-US" altLang="en-US" sz="1600"/>
            </a:p>
          </p:txBody>
        </p:sp>
        <p:sp>
          <p:nvSpPr>
            <p:cNvPr id="70" name="Line 47">
              <a:extLst>
                <a:ext uri="{FF2B5EF4-FFF2-40B4-BE49-F238E27FC236}">
                  <a16:creationId xmlns:a16="http://schemas.microsoft.com/office/drawing/2014/main" id="{DAABB351-BBF0-4C9A-AE0C-384A4BAE2C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9539" y="5466439"/>
              <a:ext cx="110415" cy="1332"/>
            </a:xfrm>
            <a:prstGeom prst="line">
              <a:avLst/>
            </a:prstGeom>
            <a:noFill/>
            <a:ln w="635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71" name="Line 48">
              <a:extLst>
                <a:ext uri="{FF2B5EF4-FFF2-40B4-BE49-F238E27FC236}">
                  <a16:creationId xmlns:a16="http://schemas.microsoft.com/office/drawing/2014/main" id="{2A181A1C-E5F9-4666-B2C8-B314E0FCA2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16421" y="5142683"/>
              <a:ext cx="108815" cy="1332"/>
            </a:xfrm>
            <a:prstGeom prst="line">
              <a:avLst/>
            </a:prstGeom>
            <a:noFill/>
            <a:ln w="635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72" name="Line 49">
              <a:extLst>
                <a:ext uri="{FF2B5EF4-FFF2-40B4-BE49-F238E27FC236}">
                  <a16:creationId xmlns:a16="http://schemas.microsoft.com/office/drawing/2014/main" id="{DB76AAC6-A287-4086-B47B-EE828FA6173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11620" y="5498415"/>
              <a:ext cx="108815" cy="1332"/>
            </a:xfrm>
            <a:prstGeom prst="line">
              <a:avLst/>
            </a:prstGeom>
            <a:noFill/>
            <a:ln w="635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endParaRPr lang="en-GB"/>
            </a:p>
          </p:txBody>
        </p:sp>
        <p:sp>
          <p:nvSpPr>
            <p:cNvPr id="73" name="Text Box 50">
              <a:extLst>
                <a:ext uri="{FF2B5EF4-FFF2-40B4-BE49-F238E27FC236}">
                  <a16:creationId xmlns:a16="http://schemas.microsoft.com/office/drawing/2014/main" id="{B94CAE20-94E8-4389-86F0-E6B7EF290C8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49406" y="3385339"/>
              <a:ext cx="771307" cy="3357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SQTM</a:t>
              </a:r>
              <a:endParaRPr lang="en-GB" altLang="en-US" sz="1600" b="1"/>
            </a:p>
          </p:txBody>
        </p:sp>
        <p:sp>
          <p:nvSpPr>
            <p:cNvPr id="74" name="Text Box 51">
              <a:extLst>
                <a:ext uri="{FF2B5EF4-FFF2-40B4-BE49-F238E27FC236}">
                  <a16:creationId xmlns:a16="http://schemas.microsoft.com/office/drawing/2014/main" id="{B42BAD01-3948-4B34-BE5C-EBD852F68D8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38204" y="3725083"/>
              <a:ext cx="724900" cy="3357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SQTL</a:t>
              </a:r>
              <a:endParaRPr lang="en-GB" altLang="en-US" sz="1600" b="1"/>
            </a:p>
          </p:txBody>
        </p:sp>
        <p:sp>
          <p:nvSpPr>
            <p:cNvPr id="75" name="Text Box 52">
              <a:extLst>
                <a:ext uri="{FF2B5EF4-FFF2-40B4-BE49-F238E27FC236}">
                  <a16:creationId xmlns:a16="http://schemas.microsoft.com/office/drawing/2014/main" id="{61229913-5064-4B69-982E-AFABFA186C6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87645" y="3739739"/>
              <a:ext cx="724900" cy="3370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SQFL</a:t>
              </a:r>
              <a:endParaRPr lang="en-GB" altLang="en-US" sz="1600" b="1"/>
            </a:p>
          </p:txBody>
        </p:sp>
        <p:sp>
          <p:nvSpPr>
            <p:cNvPr id="76" name="Text Box 53">
              <a:extLst>
                <a:ext uri="{FF2B5EF4-FFF2-40B4-BE49-F238E27FC236}">
                  <a16:creationId xmlns:a16="http://schemas.microsoft.com/office/drawing/2014/main" id="{DC868A65-742D-4ACC-A009-5237A983E48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98846" y="3392001"/>
              <a:ext cx="771307" cy="3370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SQFM</a:t>
              </a:r>
              <a:endParaRPr lang="en-GB" altLang="en-US" sz="1600" b="1"/>
            </a:p>
          </p:txBody>
        </p:sp>
        <p:sp>
          <p:nvSpPr>
            <p:cNvPr id="77" name="Rectangle 54">
              <a:extLst>
                <a:ext uri="{FF2B5EF4-FFF2-40B4-BE49-F238E27FC236}">
                  <a16:creationId xmlns:a16="http://schemas.microsoft.com/office/drawing/2014/main" id="{E51DA930-4B48-4F38-A1BE-0845065D0A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2833" y="1647980"/>
              <a:ext cx="2192304" cy="1076523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50000"/>
                </a:spcAft>
                <a:buFontTx/>
                <a:buNone/>
              </a:pPr>
              <a:endParaRPr lang="en-US" altLang="en-US" sz="1600"/>
            </a:p>
          </p:txBody>
        </p:sp>
        <p:sp>
          <p:nvSpPr>
            <p:cNvPr id="78" name="Text Box 55">
              <a:extLst>
                <a:ext uri="{FF2B5EF4-FFF2-40B4-BE49-F238E27FC236}">
                  <a16:creationId xmlns:a16="http://schemas.microsoft.com/office/drawing/2014/main" id="{9BA3AB1D-7041-4D0C-8C19-E1F6B72F564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38204" y="1789207"/>
              <a:ext cx="771307" cy="3370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SQTM</a:t>
              </a:r>
              <a:endParaRPr lang="en-GB" altLang="en-US" sz="1600" b="1"/>
            </a:p>
          </p:txBody>
        </p:sp>
        <p:sp>
          <p:nvSpPr>
            <p:cNvPr id="79" name="Text Box 56">
              <a:extLst>
                <a:ext uri="{FF2B5EF4-FFF2-40B4-BE49-F238E27FC236}">
                  <a16:creationId xmlns:a16="http://schemas.microsoft.com/office/drawing/2014/main" id="{44259AC1-00EF-4D28-819D-E94E48A2A65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23802" y="2128951"/>
              <a:ext cx="801711" cy="3370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SQTL</a:t>
              </a:r>
              <a:endParaRPr lang="en-GB" altLang="en-US" sz="1600" b="1"/>
            </a:p>
          </p:txBody>
        </p:sp>
        <p:sp>
          <p:nvSpPr>
            <p:cNvPr id="80" name="Text Box 57">
              <a:extLst>
                <a:ext uri="{FF2B5EF4-FFF2-40B4-BE49-F238E27FC236}">
                  <a16:creationId xmlns:a16="http://schemas.microsoft.com/office/drawing/2014/main" id="{B0E4017A-7344-4738-A490-77BB0431CCE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74843" y="2146272"/>
              <a:ext cx="724900" cy="3370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SQFL</a:t>
              </a:r>
              <a:endParaRPr lang="en-GB" altLang="en-US" sz="1600" b="1"/>
            </a:p>
          </p:txBody>
        </p:sp>
        <p:sp>
          <p:nvSpPr>
            <p:cNvPr id="81" name="Text Box 58">
              <a:extLst>
                <a:ext uri="{FF2B5EF4-FFF2-40B4-BE49-F238E27FC236}">
                  <a16:creationId xmlns:a16="http://schemas.microsoft.com/office/drawing/2014/main" id="{FC39B2CE-3EBE-4849-8181-144D0FEC7BB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84444" y="1798533"/>
              <a:ext cx="771307" cy="3370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SQFM</a:t>
              </a:r>
              <a:endParaRPr lang="en-GB" altLang="en-US" sz="1600" b="1"/>
            </a:p>
          </p:txBody>
        </p:sp>
        <p:sp>
          <p:nvSpPr>
            <p:cNvPr id="82" name="Rectangle 59">
              <a:extLst>
                <a:ext uri="{FF2B5EF4-FFF2-40B4-BE49-F238E27FC236}">
                  <a16:creationId xmlns:a16="http://schemas.microsoft.com/office/drawing/2014/main" id="{55AF9985-93BE-401B-9C42-9F766CB781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5635" y="4928178"/>
              <a:ext cx="2190704" cy="988589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Aft>
                  <a:spcPct val="50000"/>
                </a:spcAft>
                <a:buFontTx/>
                <a:buNone/>
              </a:pPr>
              <a:endParaRPr lang="en-US" altLang="en-US" sz="1600"/>
            </a:p>
          </p:txBody>
        </p:sp>
        <p:sp>
          <p:nvSpPr>
            <p:cNvPr id="83" name="Text Box 60">
              <a:extLst>
                <a:ext uri="{FF2B5EF4-FFF2-40B4-BE49-F238E27FC236}">
                  <a16:creationId xmlns:a16="http://schemas.microsoft.com/office/drawing/2014/main" id="{AAB9F4E9-8627-41DD-BB83-4BF49B93877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49406" y="4981471"/>
              <a:ext cx="771307" cy="3370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SQTM</a:t>
              </a:r>
              <a:endParaRPr lang="en-GB" altLang="en-US" sz="1600" b="1"/>
            </a:p>
          </p:txBody>
        </p:sp>
        <p:sp>
          <p:nvSpPr>
            <p:cNvPr id="84" name="Text Box 61">
              <a:extLst>
                <a:ext uri="{FF2B5EF4-FFF2-40B4-BE49-F238E27FC236}">
                  <a16:creationId xmlns:a16="http://schemas.microsoft.com/office/drawing/2014/main" id="{5354452F-0A85-450F-A001-0750382D9C8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35004" y="5322548"/>
              <a:ext cx="724900" cy="3370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SQTL</a:t>
              </a:r>
              <a:endParaRPr lang="en-GB" altLang="en-US" sz="1600" b="1"/>
            </a:p>
          </p:txBody>
        </p:sp>
        <p:sp>
          <p:nvSpPr>
            <p:cNvPr id="85" name="Text Box 62">
              <a:extLst>
                <a:ext uri="{FF2B5EF4-FFF2-40B4-BE49-F238E27FC236}">
                  <a16:creationId xmlns:a16="http://schemas.microsoft.com/office/drawing/2014/main" id="{8C99A73B-B557-4173-8950-CDC4126D570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97246" y="4993462"/>
              <a:ext cx="771307" cy="3357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SQFM</a:t>
              </a:r>
              <a:endParaRPr lang="en-GB" altLang="en-US" sz="1600" b="1"/>
            </a:p>
          </p:txBody>
        </p:sp>
        <p:sp>
          <p:nvSpPr>
            <p:cNvPr id="86" name="Text Box 63">
              <a:extLst>
                <a:ext uri="{FF2B5EF4-FFF2-40B4-BE49-F238E27FC236}">
                  <a16:creationId xmlns:a16="http://schemas.microsoft.com/office/drawing/2014/main" id="{6C59E23E-08B6-498C-894B-A411A65BE90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87645" y="5337203"/>
              <a:ext cx="724900" cy="3370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SQFL</a:t>
              </a:r>
              <a:endParaRPr lang="en-GB" altLang="en-US" sz="1600" b="1"/>
            </a:p>
          </p:txBody>
        </p:sp>
        <p:sp>
          <p:nvSpPr>
            <p:cNvPr id="87" name="Text Box 29">
              <a:extLst>
                <a:ext uri="{FF2B5EF4-FFF2-40B4-BE49-F238E27FC236}">
                  <a16:creationId xmlns:a16="http://schemas.microsoft.com/office/drawing/2014/main" id="{597DD3DA-11EB-405F-9A43-60B36F5A795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13183" y="5620656"/>
              <a:ext cx="2291321" cy="3386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buFontTx/>
                <a:buNone/>
              </a:pPr>
              <a:r>
                <a:rPr lang="en-US" altLang="en-US" sz="1600" b="1">
                  <a:solidFill>
                    <a:srgbClr val="0000CA"/>
                  </a:solidFill>
                </a:rPr>
                <a:t>Cooling sequence 1</a:t>
              </a:r>
              <a:endParaRPr lang="en-GB" altLang="en-US" sz="1600" b="1">
                <a:solidFill>
                  <a:srgbClr val="0000CA"/>
                </a:solidFill>
              </a:endParaRPr>
            </a:p>
          </p:txBody>
        </p:sp>
        <p:sp>
          <p:nvSpPr>
            <p:cNvPr id="88" name="Text Box 29">
              <a:extLst>
                <a:ext uri="{FF2B5EF4-FFF2-40B4-BE49-F238E27FC236}">
                  <a16:creationId xmlns:a16="http://schemas.microsoft.com/office/drawing/2014/main" id="{FAF3372C-B185-4D14-B888-A7450C0B989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13182" y="4002422"/>
              <a:ext cx="2152061" cy="3386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buFontTx/>
                <a:buNone/>
              </a:pPr>
              <a:r>
                <a:rPr lang="en-US" altLang="en-US" sz="1600" b="1">
                  <a:solidFill>
                    <a:srgbClr val="FF0000"/>
                  </a:solidFill>
                </a:rPr>
                <a:t>Heating sequence 1</a:t>
              </a:r>
              <a:endParaRPr lang="en-GB" altLang="en-US" sz="1600" b="1">
                <a:solidFill>
                  <a:srgbClr val="FF0000"/>
                </a:solidFill>
              </a:endParaRPr>
            </a:p>
          </p:txBody>
        </p:sp>
        <p:sp>
          <p:nvSpPr>
            <p:cNvPr id="89" name="Text Box 29">
              <a:extLst>
                <a:ext uri="{FF2B5EF4-FFF2-40B4-BE49-F238E27FC236}">
                  <a16:creationId xmlns:a16="http://schemas.microsoft.com/office/drawing/2014/main" id="{2CAFA844-8F0B-4C23-8764-ACBC1B737F5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48788" y="2414801"/>
              <a:ext cx="2299776" cy="3386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buFontTx/>
                <a:buNone/>
              </a:pPr>
              <a:r>
                <a:rPr lang="en-US" altLang="en-US" sz="1600" b="1">
                  <a:solidFill>
                    <a:srgbClr val="FF0000"/>
                  </a:solidFill>
                </a:rPr>
                <a:t>Heating sequence 2</a:t>
              </a:r>
              <a:endParaRPr lang="en-GB" altLang="en-US" sz="1600" b="1">
                <a:solidFill>
                  <a:srgbClr val="FF0000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CFD624EF-0EFE-4467-AA6E-EC19F3C32DDE}"/>
              </a:ext>
            </a:extLst>
          </p:cNvPr>
          <p:cNvGrpSpPr/>
          <p:nvPr/>
        </p:nvGrpSpPr>
        <p:grpSpPr>
          <a:xfrm>
            <a:off x="2442489" y="3709122"/>
            <a:ext cx="5175314" cy="3030719"/>
            <a:chOff x="2468247" y="3606091"/>
            <a:chExt cx="5175314" cy="3030719"/>
          </a:xfrm>
        </p:grpSpPr>
        <p:sp>
          <p:nvSpPr>
            <p:cNvPr id="39" name="Line 4">
              <a:extLst>
                <a:ext uri="{FF2B5EF4-FFF2-40B4-BE49-F238E27FC236}">
                  <a16:creationId xmlns:a16="http://schemas.microsoft.com/office/drawing/2014/main" id="{81B8F43B-DA69-4FF7-B309-C20FD25940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68247" y="6237054"/>
              <a:ext cx="4795438" cy="22078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40" name="Line 5">
              <a:extLst>
                <a:ext uri="{FF2B5EF4-FFF2-40B4-BE49-F238E27FC236}">
                  <a16:creationId xmlns:a16="http://schemas.microsoft.com/office/drawing/2014/main" id="{A647B766-5263-4541-8638-45C0C9DC4B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66704" y="3786389"/>
              <a:ext cx="0" cy="2601532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41" name="Line 6">
              <a:extLst>
                <a:ext uri="{FF2B5EF4-FFF2-40B4-BE49-F238E27FC236}">
                  <a16:creationId xmlns:a16="http://schemas.microsoft.com/office/drawing/2014/main" id="{CB29606B-8F04-407B-9B8B-265FF99E188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18327" y="4039712"/>
              <a:ext cx="1429965" cy="2209225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42" name="Line 7">
              <a:extLst>
                <a:ext uri="{FF2B5EF4-FFF2-40B4-BE49-F238E27FC236}">
                  <a16:creationId xmlns:a16="http://schemas.microsoft.com/office/drawing/2014/main" id="{C349E125-DC15-456A-81C5-66A09212FD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77237" y="4039712"/>
              <a:ext cx="1341089" cy="2209225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43" name="Line 8">
              <a:extLst>
                <a:ext uri="{FF2B5EF4-FFF2-40B4-BE49-F238E27FC236}">
                  <a16:creationId xmlns:a16="http://schemas.microsoft.com/office/drawing/2014/main" id="{290F7530-E281-4E93-B5F9-0970865055E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997411" y="4039712"/>
              <a:ext cx="1163334" cy="2209225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44" name="Text Box 9">
              <a:extLst>
                <a:ext uri="{FF2B5EF4-FFF2-40B4-BE49-F238E27FC236}">
                  <a16:creationId xmlns:a16="http://schemas.microsoft.com/office/drawing/2014/main" id="{439C2C46-9D07-467C-B0AD-C8C178788E3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3559004">
              <a:off x="1944716" y="4960335"/>
              <a:ext cx="210987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Heating sequence 2</a:t>
              </a:r>
              <a:endParaRPr lang="de-CH" altLang="en-US" sz="1600" b="1">
                <a:solidFill>
                  <a:srgbClr val="000000"/>
                </a:solidFill>
              </a:endParaRPr>
            </a:p>
          </p:txBody>
        </p:sp>
        <p:sp>
          <p:nvSpPr>
            <p:cNvPr id="45" name="Text Box 10">
              <a:extLst>
                <a:ext uri="{FF2B5EF4-FFF2-40B4-BE49-F238E27FC236}">
                  <a16:creationId xmlns:a16="http://schemas.microsoft.com/office/drawing/2014/main" id="{77CB953B-A7C8-41F1-9C3C-7878DE940AD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7877637">
              <a:off x="5785954" y="4929022"/>
              <a:ext cx="212109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Cooling sequence 1</a:t>
              </a:r>
              <a:endParaRPr lang="de-CH" altLang="en-US" sz="1600" b="1">
                <a:solidFill>
                  <a:srgbClr val="000000"/>
                </a:solidFill>
              </a:endParaRPr>
            </a:p>
          </p:txBody>
        </p:sp>
        <p:sp>
          <p:nvSpPr>
            <p:cNvPr id="46" name="Text Box 11">
              <a:extLst>
                <a:ext uri="{FF2B5EF4-FFF2-40B4-BE49-F238E27FC236}">
                  <a16:creationId xmlns:a16="http://schemas.microsoft.com/office/drawing/2014/main" id="{C4CAEEC1-0512-4811-9A8A-17063999B7A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16014" y="6266513"/>
              <a:ext cx="1779654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600" b="1">
                  <a:solidFill>
                    <a:srgbClr val="FF0000"/>
                  </a:solidFill>
                </a:rPr>
                <a:t>Heating demand</a:t>
              </a:r>
              <a:endParaRPr lang="de-CH" altLang="en-US" sz="1600" b="1">
                <a:solidFill>
                  <a:srgbClr val="FF0000"/>
                </a:solidFill>
              </a:endParaRPr>
            </a:p>
          </p:txBody>
        </p:sp>
        <p:sp>
          <p:nvSpPr>
            <p:cNvPr id="47" name="Text Box 12">
              <a:extLst>
                <a:ext uri="{FF2B5EF4-FFF2-40B4-BE49-F238E27FC236}">
                  <a16:creationId xmlns:a16="http://schemas.microsoft.com/office/drawing/2014/main" id="{F21B0A74-A419-41B6-B1BE-4C427DCBC83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52686" y="6298256"/>
              <a:ext cx="179087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600" b="1">
                  <a:solidFill>
                    <a:srgbClr val="0000FF"/>
                  </a:solidFill>
                </a:rPr>
                <a:t>Cooling demand</a:t>
              </a:r>
              <a:endParaRPr lang="de-CH" altLang="en-US" sz="1600" b="1">
                <a:solidFill>
                  <a:srgbClr val="0000FF"/>
                </a:solidFill>
              </a:endParaRPr>
            </a:p>
          </p:txBody>
        </p:sp>
        <p:sp>
          <p:nvSpPr>
            <p:cNvPr id="48" name="Text Box 13">
              <a:extLst>
                <a:ext uri="{FF2B5EF4-FFF2-40B4-BE49-F238E27FC236}">
                  <a16:creationId xmlns:a16="http://schemas.microsoft.com/office/drawing/2014/main" id="{4F57EFF8-9316-4CC1-8620-EB3DCF1EFC7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83505" y="4691022"/>
              <a:ext cx="893529" cy="3761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799" b="1">
                  <a:solidFill>
                    <a:srgbClr val="FF0000"/>
                  </a:solidFill>
                </a:rPr>
                <a:t>KP + </a:t>
              </a:r>
              <a:endParaRPr lang="de-CH" altLang="en-US" sz="1799" b="1">
                <a:solidFill>
                  <a:srgbClr val="FF0000"/>
                </a:solidFill>
              </a:endParaRPr>
            </a:p>
          </p:txBody>
        </p:sp>
        <p:sp>
          <p:nvSpPr>
            <p:cNvPr id="49" name="Text Box 14">
              <a:extLst>
                <a:ext uri="{FF2B5EF4-FFF2-40B4-BE49-F238E27FC236}">
                  <a16:creationId xmlns:a16="http://schemas.microsoft.com/office/drawing/2014/main" id="{F5F55367-7DB5-481B-8129-034259FABF6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85984" y="4681035"/>
              <a:ext cx="893529" cy="3761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799" b="1">
                  <a:solidFill>
                    <a:srgbClr val="0000CA"/>
                  </a:solidFill>
                </a:rPr>
                <a:t>KP - </a:t>
              </a:r>
              <a:endParaRPr lang="de-CH" altLang="en-US" sz="1799" b="1">
                <a:solidFill>
                  <a:srgbClr val="0000CA"/>
                </a:solidFill>
              </a:endParaRPr>
            </a:p>
          </p:txBody>
        </p:sp>
        <p:sp>
          <p:nvSpPr>
            <p:cNvPr id="50" name="Text Box 15">
              <a:extLst>
                <a:ext uri="{FF2B5EF4-FFF2-40B4-BE49-F238E27FC236}">
                  <a16:creationId xmlns:a16="http://schemas.microsoft.com/office/drawing/2014/main" id="{A9186909-A277-4D3E-9882-3A640B62327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3458792">
              <a:off x="3281390" y="4923468"/>
              <a:ext cx="210987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600" b="1">
                  <a:solidFill>
                    <a:srgbClr val="000000"/>
                  </a:solidFill>
                </a:rPr>
                <a:t>Heating sequence 1</a:t>
              </a:r>
              <a:endParaRPr lang="de-CH" altLang="en-US" sz="1600" b="1">
                <a:solidFill>
                  <a:srgbClr val="000000"/>
                </a:solidFill>
              </a:endParaRPr>
            </a:p>
          </p:txBody>
        </p:sp>
        <p:sp>
          <p:nvSpPr>
            <p:cNvPr id="51" name="Line 16">
              <a:extLst>
                <a:ext uri="{FF2B5EF4-FFF2-40B4-BE49-F238E27FC236}">
                  <a16:creationId xmlns:a16="http://schemas.microsoft.com/office/drawing/2014/main" id="{61F92717-6971-4F83-86BF-9B96FD772E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11978" y="4042886"/>
              <a:ext cx="0" cy="217907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GB"/>
            </a:p>
          </p:txBody>
        </p:sp>
        <p:sp>
          <p:nvSpPr>
            <p:cNvPr id="52" name="Line 17">
              <a:extLst>
                <a:ext uri="{FF2B5EF4-FFF2-40B4-BE49-F238E27FC236}">
                  <a16:creationId xmlns:a16="http://schemas.microsoft.com/office/drawing/2014/main" id="{4828631F-7E6E-4798-83FD-ED4105EAE56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01531" y="3959537"/>
              <a:ext cx="4636598" cy="715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53" name="Text Box 18">
              <a:extLst>
                <a:ext uri="{FF2B5EF4-FFF2-40B4-BE49-F238E27FC236}">
                  <a16:creationId xmlns:a16="http://schemas.microsoft.com/office/drawing/2014/main" id="{E1174762-D516-455C-A12E-D268C25A7B9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03548" y="3606091"/>
              <a:ext cx="73128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600" b="1">
                  <a:solidFill>
                    <a:srgbClr val="0000FF"/>
                  </a:solidFill>
                </a:rPr>
                <a:t>SQTL</a:t>
              </a:r>
              <a:endParaRPr lang="de-CH" altLang="en-US" sz="1800" b="1">
                <a:solidFill>
                  <a:srgbClr val="0000FF"/>
                </a:solidFill>
              </a:endParaRPr>
            </a:p>
          </p:txBody>
        </p:sp>
        <p:sp>
          <p:nvSpPr>
            <p:cNvPr id="90" name="Text Box 18">
              <a:extLst>
                <a:ext uri="{FF2B5EF4-FFF2-40B4-BE49-F238E27FC236}">
                  <a16:creationId xmlns:a16="http://schemas.microsoft.com/office/drawing/2014/main" id="{DC1520C1-4CC4-4DA9-9033-C485770D31C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85717" y="3629703"/>
              <a:ext cx="777777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buFont typeface="Wingdings" panose="05000000000000000000" pitchFamily="2" charset="2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buFontTx/>
                <a:buNone/>
              </a:pPr>
              <a:r>
                <a:rPr lang="en-US" altLang="en-US" sz="1600" b="1">
                  <a:solidFill>
                    <a:srgbClr val="FF0000"/>
                  </a:solidFill>
                </a:rPr>
                <a:t>SQTM</a:t>
              </a:r>
              <a:endParaRPr lang="de-CH" altLang="en-US" sz="1800" b="1">
                <a:solidFill>
                  <a:srgbClr val="0000FF"/>
                </a:solidFill>
              </a:endParaRPr>
            </a:p>
          </p:txBody>
        </p:sp>
      </p:grpSp>
      <p:pic>
        <p:nvPicPr>
          <p:cNvPr id="102" name="Picture 101">
            <a:extLst>
              <a:ext uri="{FF2B5EF4-FFF2-40B4-BE49-F238E27FC236}">
                <a16:creationId xmlns:a16="http://schemas.microsoft.com/office/drawing/2014/main" id="{915F1B6D-EAA5-4C7A-93ED-8500126492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89364" y="-2378365"/>
            <a:ext cx="2111409" cy="2210146"/>
          </a:xfrm>
          <a:prstGeom prst="rect">
            <a:avLst/>
          </a:prstGeom>
        </p:spPr>
      </p:pic>
      <p:sp>
        <p:nvSpPr>
          <p:cNvPr id="103" name="Oval 102">
            <a:extLst>
              <a:ext uri="{FF2B5EF4-FFF2-40B4-BE49-F238E27FC236}">
                <a16:creationId xmlns:a16="http://schemas.microsoft.com/office/drawing/2014/main" id="{5A5EB6AC-2702-4F3F-A112-F9DC13E40FF7}"/>
              </a:ext>
            </a:extLst>
          </p:cNvPr>
          <p:cNvSpPr/>
          <p:nvPr/>
        </p:nvSpPr>
        <p:spPr bwMode="auto">
          <a:xfrm>
            <a:off x="11730633" y="2995640"/>
            <a:ext cx="304043" cy="30768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r>
              <a:rPr lang="en-US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C5341DC1-004C-495C-A115-967C2D38FA01}"/>
              </a:ext>
            </a:extLst>
          </p:cNvPr>
          <p:cNvSpPr/>
          <p:nvPr/>
        </p:nvSpPr>
        <p:spPr bwMode="auto">
          <a:xfrm>
            <a:off x="9002562" y="4342774"/>
            <a:ext cx="304044" cy="282685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r>
              <a:rPr lang="en-US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BE9EF91C-9717-4376-BCCE-5304673B51D7}"/>
              </a:ext>
            </a:extLst>
          </p:cNvPr>
          <p:cNvSpPr/>
          <p:nvPr/>
        </p:nvSpPr>
        <p:spPr bwMode="auto">
          <a:xfrm>
            <a:off x="11702935" y="2523082"/>
            <a:ext cx="304043" cy="30768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r>
              <a:rPr lang="en-US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2E71DFDD-8811-4399-8ABB-2BC31E3B10D5}"/>
              </a:ext>
            </a:extLst>
          </p:cNvPr>
          <p:cNvSpPr/>
          <p:nvPr/>
        </p:nvSpPr>
        <p:spPr bwMode="auto">
          <a:xfrm>
            <a:off x="8802277" y="1430519"/>
            <a:ext cx="304043" cy="30768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r>
              <a:rPr lang="en-US">
                <a:solidFill>
                  <a:schemeClr val="bg1"/>
                </a:solidFill>
              </a:rPr>
              <a:t>4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FE12CB9F-EB6D-441E-B0DA-D8ECCDE18134}"/>
              </a:ext>
            </a:extLst>
          </p:cNvPr>
          <p:cNvGrpSpPr>
            <a:grpSpLocks noChangeAspect="1"/>
          </p:cNvGrpSpPr>
          <p:nvPr/>
        </p:nvGrpSpPr>
        <p:grpSpPr>
          <a:xfrm>
            <a:off x="5554331" y="80831"/>
            <a:ext cx="323161" cy="323158"/>
            <a:chOff x="3169323" y="2534982"/>
            <a:chExt cx="688904" cy="68890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B12F94A6-B624-4455-870B-18951E69331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69323" y="2534982"/>
              <a:ext cx="688904" cy="688904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GB" sz="18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AB5E6D80-915B-40C9-B17F-E3B9A114A0D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255004" y="2628982"/>
              <a:ext cx="475876" cy="475877"/>
              <a:chOff x="4295347" y="1989280"/>
              <a:chExt cx="753202" cy="753203"/>
            </a:xfrm>
          </p:grpSpPr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E63694AE-9738-450D-85F4-0F4508A8811F}"/>
                  </a:ext>
                </a:extLst>
              </p:cNvPr>
              <p:cNvSpPr/>
              <p:nvPr/>
            </p:nvSpPr>
            <p:spPr bwMode="auto">
              <a:xfrm>
                <a:off x="4523984" y="2034302"/>
                <a:ext cx="405044" cy="40460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GB" sz="180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pic>
            <p:nvPicPr>
              <p:cNvPr id="115" name="Picture 2" descr="Image result for free icon workshop">
                <a:extLst>
                  <a:ext uri="{FF2B5EF4-FFF2-40B4-BE49-F238E27FC236}">
                    <a16:creationId xmlns:a16="http://schemas.microsoft.com/office/drawing/2014/main" id="{7C0EB2BC-C743-451C-A865-3A3E4158225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95347" y="1989280"/>
                <a:ext cx="753202" cy="75320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825092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noProof="0"/>
            </a:br>
            <a:endParaRPr lang="en-US" noProof="0"/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E792521C-1253-4E79-B764-042FB6C666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99112" y="821036"/>
            <a:ext cx="3483288" cy="143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kern="0"/>
              <a:t>Used to determine the </a:t>
            </a:r>
            <a:r>
              <a:rPr lang="en-US" altLang="en-US" sz="1600" b="1" kern="0"/>
              <a:t>supply air temperature set point</a:t>
            </a:r>
            <a:r>
              <a:rPr lang="en-US" altLang="en-US" sz="1600" kern="0"/>
              <a:t> based on the room air temperature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kern="0"/>
              <a:t>Used in conjunction with a PID controller for the supply air controller control sequence.</a:t>
            </a:r>
          </a:p>
          <a:p>
            <a:pPr marL="1588" lvl="1" indent="0">
              <a:buNone/>
            </a:pPr>
            <a:endParaRPr lang="en-US" altLang="en-US" sz="1600" kern="0"/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DF2F0F6B-8CD0-4F25-937D-224A8C398C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9972" y="682890"/>
            <a:ext cx="5425642" cy="2532824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3674D671-FC00-4FCE-900A-7A9DA8E1E8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0337" y="3365862"/>
            <a:ext cx="1871721" cy="1341534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FA1BCF05-D4D5-4844-A0C2-73A093B07B1D}"/>
              </a:ext>
            </a:extLst>
          </p:cNvPr>
          <p:cNvSpPr txBox="1"/>
          <p:nvPr/>
        </p:nvSpPr>
        <p:spPr>
          <a:xfrm>
            <a:off x="4895590" y="4779884"/>
            <a:ext cx="2241214" cy="4929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2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PVC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-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et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oint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alue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oling</a:t>
            </a:r>
            <a:endParaRPr lang="de-CH" sz="12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2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PVH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-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et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oint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alue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eating</a:t>
            </a:r>
            <a:endParaRPr lang="en-GB" sz="12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84EBCB71-61AC-4410-9F0C-44041DF425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8384" y="3985152"/>
            <a:ext cx="3275511" cy="684636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BA4CB43D-6214-4217-91FD-6FAD126570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97420" y="3111228"/>
            <a:ext cx="3275511" cy="742900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297A98C1-B571-474C-A67F-A7FB463EFB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1537" y="4792603"/>
            <a:ext cx="3270211" cy="735630"/>
          </a:xfrm>
          <a:prstGeom prst="rect">
            <a:avLst/>
          </a:prstGeom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E649E9CF-E111-4CB1-AB16-F9576FC12DF8}"/>
              </a:ext>
            </a:extLst>
          </p:cNvPr>
          <p:cNvSpPr txBox="1"/>
          <p:nvPr/>
        </p:nvSpPr>
        <p:spPr>
          <a:xfrm>
            <a:off x="2159999" y="3573258"/>
            <a:ext cx="2565166" cy="14396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2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PV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–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et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oint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alue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(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oom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air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emp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et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oint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).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2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PBAND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–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et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oint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eadband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2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PSEL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–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et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oint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election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2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RV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–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resent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alue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(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oom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air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emp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).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2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RPRV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–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resent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alue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rror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2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NBL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– </a:t>
            </a:r>
            <a:r>
              <a:rPr lang="de-CH" sz="12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nable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  <a:endParaRPr lang="en-GB" sz="12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A5BC9460-198F-4FD4-B834-ADA1D32DFDA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8882" y="5305216"/>
            <a:ext cx="2974630" cy="1476498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2CCFA3A7-FA7A-41D1-B16C-137433CFC22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9540" y="5433389"/>
            <a:ext cx="2915565" cy="1126468"/>
          </a:xfrm>
          <a:prstGeom prst="rect">
            <a:avLst/>
          </a:prstGeom>
        </p:spPr>
      </p:pic>
      <p:sp>
        <p:nvSpPr>
          <p:cNvPr id="37" name="cdtText Box 4 Id114692">
            <a:extLst>
              <a:ext uri="{FF2B5EF4-FFF2-40B4-BE49-F238E27FC236}">
                <a16:creationId xmlns:a16="http://schemas.microsoft.com/office/drawing/2014/main" id="{56C22BA4-C048-4F16-AFCF-E39FED8334F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159999" y="1084"/>
            <a:ext cx="10035175" cy="468000"/>
          </a:xfrm>
          <a:prstGeom prst="rect">
            <a:avLst/>
          </a:prstGeom>
          <a:gradFill>
            <a:gsLst>
              <a:gs pos="58000">
                <a:srgbClr val="00315F"/>
              </a:gs>
              <a:gs pos="6000">
                <a:srgbClr val="00022B"/>
              </a:gs>
              <a:gs pos="100000">
                <a:srgbClr val="0080B6"/>
              </a:gs>
            </a:gsLst>
            <a:lin ang="0" scaled="0"/>
          </a:gradFill>
          <a:ln>
            <a:noFill/>
          </a:ln>
          <a:effectLst/>
        </p:spPr>
        <p:txBody>
          <a:bodyPr wrap="square" lIns="143963" tIns="143963" rIns="143963" bIns="143963" numCol="1" spcCol="72000" rtlCol="0" anchor="ctr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</a:rPr>
              <a:t>Cascade lead controller</a:t>
            </a:r>
          </a:p>
        </p:txBody>
      </p:sp>
      <p:sp>
        <p:nvSpPr>
          <p:cNvPr id="39" name="Textfeld 337">
            <a:extLst>
              <a:ext uri="{FF2B5EF4-FFF2-40B4-BE49-F238E27FC236}">
                <a16:creationId xmlns:a16="http://schemas.microsoft.com/office/drawing/2014/main" id="{505BB6FC-3EAE-4F12-A4D6-871675FD12A2}"/>
              </a:ext>
            </a:extLst>
          </p:cNvPr>
          <p:cNvSpPr txBox="1"/>
          <p:nvPr/>
        </p:nvSpPr>
        <p:spPr>
          <a:xfrm>
            <a:off x="7619" y="3651232"/>
            <a:ext cx="2160000" cy="222249"/>
          </a:xfrm>
          <a:prstGeom prst="rect">
            <a:avLst/>
          </a:prstGeom>
          <a:solidFill>
            <a:srgbClr val="0080B6"/>
          </a:solidFill>
        </p:spPr>
        <p:txBody>
          <a:bodyPr wrap="square" lIns="54000" tIns="0" rIns="0" bIns="0" rtlCol="0" anchor="ctr" anchorCtr="0">
            <a:noAutofit/>
          </a:bodyPr>
          <a:lstStyle>
            <a:defPPr>
              <a:defRPr lang="de-DE"/>
            </a:defPPr>
            <a:lvl1pPr algn="l">
              <a:lnSpc>
                <a:spcPct val="110000"/>
              </a:lnSpc>
              <a:spcBef>
                <a:spcPts val="0"/>
              </a:spcBef>
              <a:defRPr sz="1100" b="1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r>
              <a:rPr lang="en-US" sz="1100" b="0">
                <a:latin typeface="+mj-lt"/>
              </a:rPr>
              <a:t>– </a:t>
            </a:r>
            <a:r>
              <a:rPr lang="en-US" sz="1100" b="0" kern="1200">
                <a:latin typeface="+mj-lt"/>
                <a:ea typeface="+mn-ea"/>
              </a:rPr>
              <a:t>HVAC control functions</a:t>
            </a:r>
            <a:endParaRPr lang="en-US" sz="1100" b="0" u="none" strike="noStrike" kern="1200">
              <a:effectLst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20720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1" name="Rectangle 3">
            <a:extLst>
              <a:ext uri="{FF2B5EF4-FFF2-40B4-BE49-F238E27FC236}">
                <a16:creationId xmlns:a16="http://schemas.microsoft.com/office/drawing/2014/main" id="{453C307C-DA2E-4EBA-83DB-FE22A44D79FB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2380994" y="469084"/>
            <a:ext cx="8890000" cy="4932363"/>
          </a:xfrm>
        </p:spPr>
        <p:txBody>
          <a:bodyPr/>
          <a:lstStyle/>
          <a:p>
            <a:pPr lvl="1" eaLnBrk="1" hangingPunct="1">
              <a:buFont typeface="Wingdings" panose="05000000000000000000" pitchFamily="2" charset="2"/>
              <a:buNone/>
            </a:pPr>
            <a:endParaRPr lang="en-US" altLang="en-US" b="1"/>
          </a:p>
          <a:p>
            <a:pPr lvl="1" eaLnBrk="1" hangingPunct="1">
              <a:buFont typeface="Wingdings" panose="05000000000000000000" pitchFamily="2" charset="2"/>
              <a:buNone/>
            </a:pPr>
            <a:r>
              <a:rPr lang="en-US" altLang="en-US"/>
              <a:t>A Time Schedule can be used to:</a:t>
            </a:r>
          </a:p>
          <a:p>
            <a:pPr marL="717550" lvl="2" indent="-541338"/>
            <a:r>
              <a:rPr lang="en-US" altLang="en-US"/>
              <a:t>Switch on and off the Unit</a:t>
            </a:r>
          </a:p>
          <a:p>
            <a:pPr marL="717550" lvl="2" indent="-541338"/>
            <a:r>
              <a:rPr lang="en-US" altLang="en-US"/>
              <a:t>Switch Stages</a:t>
            </a:r>
          </a:p>
          <a:p>
            <a:pPr marL="717550" lvl="2" indent="-541338"/>
            <a:r>
              <a:rPr lang="en-US" altLang="en-US"/>
              <a:t>Change set points (analog Value)</a:t>
            </a:r>
          </a:p>
          <a:p>
            <a:pPr marL="717550" lvl="2" indent="-541338"/>
            <a:r>
              <a:rPr lang="en-US" altLang="en-US"/>
              <a:t>Do periodically pump running cycles</a:t>
            </a:r>
          </a:p>
          <a:p>
            <a:pPr marL="717550" lvl="2" indent="-541338"/>
            <a:r>
              <a:rPr lang="en-US" altLang="en-US"/>
              <a:t>…</a:t>
            </a:r>
          </a:p>
          <a:p>
            <a:pPr lvl="1" eaLnBrk="1" hangingPunct="1">
              <a:buFont typeface="Wingdings" panose="05000000000000000000" pitchFamily="2" charset="2"/>
              <a:buNone/>
            </a:pPr>
            <a:r>
              <a:rPr lang="en-US" altLang="en-US"/>
              <a:t>The time scheduler provides following features</a:t>
            </a:r>
          </a:p>
          <a:p>
            <a:pPr marL="717550" lvl="2" indent="-541338"/>
            <a:r>
              <a:rPr lang="en-US" altLang="en-US"/>
              <a:t>Define up to 6 switch events for each week day and one exception day</a:t>
            </a:r>
          </a:p>
          <a:p>
            <a:pPr marL="717550" lvl="2" indent="-541338"/>
            <a:r>
              <a:rPr lang="en-US" altLang="en-US"/>
              <a:t>Define up to 10 Calendar conditions for the exception day</a:t>
            </a:r>
          </a:p>
          <a:p>
            <a:pPr marL="717550" lvl="2" indent="-541338"/>
            <a:endParaRPr lang="en-US" altLang="en-US"/>
          </a:p>
        </p:txBody>
      </p:sp>
      <p:sp>
        <p:nvSpPr>
          <p:cNvPr id="30" name="cdtText Box 4 Id114692">
            <a:extLst>
              <a:ext uri="{FF2B5EF4-FFF2-40B4-BE49-F238E27FC236}">
                <a16:creationId xmlns:a16="http://schemas.microsoft.com/office/drawing/2014/main" id="{D1F1B894-FDB3-416D-9ED1-EBB2AF3721C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159999" y="1084"/>
            <a:ext cx="10035175" cy="468000"/>
          </a:xfrm>
          <a:prstGeom prst="rect">
            <a:avLst/>
          </a:prstGeom>
          <a:gradFill>
            <a:gsLst>
              <a:gs pos="58000">
                <a:srgbClr val="00315F"/>
              </a:gs>
              <a:gs pos="6000">
                <a:srgbClr val="00022B"/>
              </a:gs>
              <a:gs pos="100000">
                <a:srgbClr val="0080B6"/>
              </a:gs>
            </a:gsLst>
            <a:lin ang="0" scaled="0"/>
          </a:gradFill>
          <a:ln>
            <a:noFill/>
          </a:ln>
          <a:effectLst/>
        </p:spPr>
        <p:txBody>
          <a:bodyPr wrap="square" lIns="143963" tIns="143963" rIns="143963" bIns="143963" numCol="1" spcCol="72000" rtlCol="0" anchor="ctr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</a:rPr>
              <a:t>Time Schedule </a:t>
            </a:r>
            <a:r>
              <a:rPr lang="en-US" sz="1600">
                <a:solidFill>
                  <a:schemeClr val="bg1"/>
                </a:solidFill>
                <a:sym typeface="Wingdings" panose="05000000000000000000" pitchFamily="2" charset="2"/>
              </a:rPr>
              <a:t> </a:t>
            </a:r>
            <a:r>
              <a:rPr lang="en-US" sz="1600">
                <a:solidFill>
                  <a:schemeClr val="bg1"/>
                </a:solidFill>
              </a:rPr>
              <a:t>Exercise 5 </a:t>
            </a:r>
          </a:p>
        </p:txBody>
      </p:sp>
      <p:sp>
        <p:nvSpPr>
          <p:cNvPr id="32" name="Textfeld 337">
            <a:extLst>
              <a:ext uri="{FF2B5EF4-FFF2-40B4-BE49-F238E27FC236}">
                <a16:creationId xmlns:a16="http://schemas.microsoft.com/office/drawing/2014/main" id="{D99EB32B-07F8-40E1-AD31-4DD885535C74}"/>
              </a:ext>
            </a:extLst>
          </p:cNvPr>
          <p:cNvSpPr txBox="1"/>
          <p:nvPr/>
        </p:nvSpPr>
        <p:spPr>
          <a:xfrm>
            <a:off x="7619" y="3891767"/>
            <a:ext cx="2160000" cy="222249"/>
          </a:xfrm>
          <a:prstGeom prst="rect">
            <a:avLst/>
          </a:prstGeom>
          <a:solidFill>
            <a:srgbClr val="0080B6"/>
          </a:solidFill>
        </p:spPr>
        <p:txBody>
          <a:bodyPr wrap="square" lIns="54000" tIns="0" rIns="0" bIns="0" rtlCol="0" anchor="ctr" anchorCtr="0">
            <a:noAutofit/>
          </a:bodyPr>
          <a:lstStyle>
            <a:defPPr>
              <a:defRPr lang="de-DE"/>
            </a:defPPr>
            <a:lvl1pPr algn="l">
              <a:lnSpc>
                <a:spcPct val="110000"/>
              </a:lnSpc>
              <a:spcBef>
                <a:spcPts val="0"/>
              </a:spcBef>
              <a:defRPr sz="1100" b="1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r>
              <a:rPr lang="en-US" sz="1100" b="0">
                <a:latin typeface="+mj-lt"/>
              </a:rPr>
              <a:t>– </a:t>
            </a:r>
            <a:r>
              <a:rPr lang="en-US" sz="1100" b="0" kern="1200">
                <a:latin typeface="+mj-lt"/>
                <a:ea typeface="+mn-ea"/>
              </a:rPr>
              <a:t>Time schedule</a:t>
            </a:r>
            <a:endParaRPr lang="en-US" sz="1100" b="0" u="none" strike="noStrike" kern="1200">
              <a:effectLst/>
              <a:latin typeface="+mj-lt"/>
              <a:ea typeface="+mn-ea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E68476E-93AD-4251-B244-8DD265734402}"/>
              </a:ext>
            </a:extLst>
          </p:cNvPr>
          <p:cNvSpPr/>
          <p:nvPr/>
        </p:nvSpPr>
        <p:spPr bwMode="auto">
          <a:xfrm>
            <a:off x="12416169" y="0"/>
            <a:ext cx="3271990" cy="2654571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r>
              <a:rPr lang="en-US" dirty="0">
                <a:solidFill>
                  <a:schemeClr val="bg1"/>
                </a:solidFill>
              </a:rPr>
              <a:t>New recording</a:t>
            </a:r>
          </a:p>
          <a:p>
            <a:pPr algn="l">
              <a:lnSpc>
                <a:spcPct val="110000"/>
              </a:lnSpc>
              <a:spcBef>
                <a:spcPct val="0"/>
              </a:spcBef>
            </a:pPr>
            <a:r>
              <a:rPr lang="en-US" dirty="0">
                <a:solidFill>
                  <a:schemeClr val="bg1"/>
                </a:solidFill>
              </a:rPr>
              <a:t>Just referring to the exercise not explaining the schematic in detail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lete that box when recording</a:t>
            </a:r>
            <a:b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FF5B2D62-2BFF-4BB1-B8FD-D6A25D9CBD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E2E2E2"/>
              </a:clrFrom>
              <a:clrTo>
                <a:srgbClr val="E2E2E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48356" y="3698875"/>
            <a:ext cx="5813425" cy="2474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5">
            <a:extLst>
              <a:ext uri="{FF2B5EF4-FFF2-40B4-BE49-F238E27FC236}">
                <a16:creationId xmlns:a16="http://schemas.microsoft.com/office/drawing/2014/main" id="{3AEDC090-C639-4EDD-9A07-BD3BFBA7B4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6294" y="4589462"/>
            <a:ext cx="2378075" cy="571500"/>
          </a:xfrm>
          <a:prstGeom prst="rect">
            <a:avLst/>
          </a:prstGeom>
          <a:solidFill>
            <a:srgbClr val="AFB9C3">
              <a:alpha val="50195"/>
            </a:srgbClr>
          </a:solidFill>
          <a:ln w="9525" algn="ctr">
            <a:solidFill>
              <a:srgbClr val="0000FF"/>
            </a:solidFill>
            <a:miter lim="800000"/>
            <a:headEnd/>
            <a:tailEnd/>
          </a:ln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500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500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500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500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/>
              <a:t>Define Day Plan (Mon-Sun) + Exception</a:t>
            </a:r>
            <a:endParaRPr lang="en-US" altLang="en-US" sz="1500"/>
          </a:p>
        </p:txBody>
      </p:sp>
      <p:sp>
        <p:nvSpPr>
          <p:cNvPr id="9" name="Line 6">
            <a:extLst>
              <a:ext uri="{FF2B5EF4-FFF2-40B4-BE49-F238E27FC236}">
                <a16:creationId xmlns:a16="http://schemas.microsoft.com/office/drawing/2014/main" id="{26C4C69A-C94D-4ADA-A1D8-8A7CAF429BB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415481" y="5957887"/>
            <a:ext cx="2690813" cy="0"/>
          </a:xfrm>
          <a:prstGeom prst="line">
            <a:avLst/>
          </a:prstGeom>
          <a:noFill/>
          <a:ln w="25400">
            <a:solidFill>
              <a:srgbClr val="0000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6000" tIns="36000" rIns="36000" bIns="36000" anchor="ctr"/>
          <a:lstStyle/>
          <a:p>
            <a:endParaRPr lang="en-US"/>
          </a:p>
        </p:txBody>
      </p:sp>
      <p:sp>
        <p:nvSpPr>
          <p:cNvPr id="10" name="Text Box 7">
            <a:extLst>
              <a:ext uri="{FF2B5EF4-FFF2-40B4-BE49-F238E27FC236}">
                <a16:creationId xmlns:a16="http://schemas.microsoft.com/office/drawing/2014/main" id="{C58C6867-E7C3-46CD-B6C0-D019AF11BD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6294" y="5637213"/>
            <a:ext cx="2378075" cy="815975"/>
          </a:xfrm>
          <a:prstGeom prst="rect">
            <a:avLst/>
          </a:prstGeom>
          <a:solidFill>
            <a:srgbClr val="AFB9C3">
              <a:alpha val="50195"/>
            </a:srgbClr>
          </a:solidFill>
          <a:ln w="9525" algn="ctr">
            <a:solidFill>
              <a:srgbClr val="0000FF"/>
            </a:solidFill>
            <a:miter lim="800000"/>
            <a:headEnd/>
            <a:tailEnd/>
          </a:ln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500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500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500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5000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/>
              <a:t>If the Date is active the exception days will be used</a:t>
            </a:r>
            <a:endParaRPr lang="en-US" altLang="en-US" sz="1500"/>
          </a:p>
        </p:txBody>
      </p:sp>
      <p:sp>
        <p:nvSpPr>
          <p:cNvPr id="11" name="Line 8">
            <a:extLst>
              <a:ext uri="{FF2B5EF4-FFF2-40B4-BE49-F238E27FC236}">
                <a16:creationId xmlns:a16="http://schemas.microsoft.com/office/drawing/2014/main" id="{53D71148-3A9B-4B4C-94E1-78E5EAC8969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8560194" y="4876800"/>
            <a:ext cx="547687" cy="360363"/>
          </a:xfrm>
          <a:prstGeom prst="line">
            <a:avLst/>
          </a:prstGeom>
          <a:noFill/>
          <a:ln w="25400">
            <a:solidFill>
              <a:srgbClr val="0000FF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6000" tIns="36000" rIns="36000" bIns="36000" anchor="ctr"/>
          <a:lstStyle/>
          <a:p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A6E16D2-26EA-4291-8FF6-037C01F3E41A}"/>
              </a:ext>
            </a:extLst>
          </p:cNvPr>
          <p:cNvGrpSpPr>
            <a:grpSpLocks noChangeAspect="1"/>
          </p:cNvGrpSpPr>
          <p:nvPr/>
        </p:nvGrpSpPr>
        <p:grpSpPr>
          <a:xfrm>
            <a:off x="5148967" y="66623"/>
            <a:ext cx="323161" cy="323158"/>
            <a:chOff x="3169323" y="2534982"/>
            <a:chExt cx="688904" cy="68890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B640A34B-DA28-4685-A0EA-D377D661744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69323" y="2534982"/>
              <a:ext cx="688904" cy="688904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GB" sz="18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D16C1DE-C570-4489-87A1-4C5869317B3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255004" y="2628982"/>
              <a:ext cx="475876" cy="475877"/>
              <a:chOff x="4295347" y="1989280"/>
              <a:chExt cx="753202" cy="753203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246EFE6B-0382-4E03-BE89-27A78799F25E}"/>
                  </a:ext>
                </a:extLst>
              </p:cNvPr>
              <p:cNvSpPr/>
              <p:nvPr/>
            </p:nvSpPr>
            <p:spPr bwMode="auto">
              <a:xfrm>
                <a:off x="4523984" y="2034302"/>
                <a:ext cx="405044" cy="40460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GB" sz="180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pic>
            <p:nvPicPr>
              <p:cNvPr id="17" name="Picture 2" descr="Image result for free icon workshop">
                <a:extLst>
                  <a:ext uri="{FF2B5EF4-FFF2-40B4-BE49-F238E27FC236}">
                    <a16:creationId xmlns:a16="http://schemas.microsoft.com/office/drawing/2014/main" id="{8B313751-2272-4FF6-8FD8-255380D677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95347" y="1989280"/>
                <a:ext cx="753202" cy="75320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/>
            </a:br>
            <a:endParaRPr lang="en-US" noProof="0"/>
          </a:p>
        </p:txBody>
      </p:sp>
      <p:sp>
        <p:nvSpPr>
          <p:cNvPr id="47" name="cdtText Box 4 Id114692">
            <a:extLst>
              <a:ext uri="{FF2B5EF4-FFF2-40B4-BE49-F238E27FC236}">
                <a16:creationId xmlns:a16="http://schemas.microsoft.com/office/drawing/2014/main" id="{280AB5EB-1010-4300-AABD-DD8BF9A2B90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159999" y="1084"/>
            <a:ext cx="10035175" cy="468000"/>
          </a:xfrm>
          <a:prstGeom prst="rect">
            <a:avLst/>
          </a:prstGeom>
          <a:gradFill>
            <a:gsLst>
              <a:gs pos="58000">
                <a:srgbClr val="00315F"/>
              </a:gs>
              <a:gs pos="6000">
                <a:srgbClr val="00022B"/>
              </a:gs>
              <a:gs pos="100000">
                <a:srgbClr val="0080B6"/>
              </a:gs>
            </a:gsLst>
            <a:lin ang="0" scaled="0"/>
          </a:gradFill>
          <a:ln>
            <a:noFill/>
          </a:ln>
          <a:effectLst/>
        </p:spPr>
        <p:txBody>
          <a:bodyPr wrap="square" lIns="143963" tIns="143963" rIns="143963" bIns="143963" numCol="1" spcCol="72000" rtlCol="0" anchor="ctr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</a:rPr>
              <a:t>Automation Objects overview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B27365B-8CD9-4964-A89F-E605EE0BBD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93814" y="2841444"/>
            <a:ext cx="2373381" cy="894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6F6B2F90-411C-4CE0-87D6-8540C7987061}"/>
              </a:ext>
            </a:extLst>
          </p:cNvPr>
          <p:cNvSpPr/>
          <p:nvPr/>
        </p:nvSpPr>
        <p:spPr bwMode="auto">
          <a:xfrm>
            <a:off x="10651335" y="2497502"/>
            <a:ext cx="409889" cy="409889"/>
          </a:xfrm>
          <a:prstGeom prst="ellipse">
            <a:avLst/>
          </a:prstGeom>
          <a:solidFill>
            <a:schemeClr val="bg1"/>
          </a:solidFill>
          <a:ln w="38100">
            <a:solidFill>
              <a:srgbClr val="4A6274"/>
            </a:solidFill>
          </a:ln>
          <a:effectLst/>
        </p:spPr>
        <p:txBody>
          <a:bodyPr wrap="square" lIns="0" tIns="0" rIns="0" bIns="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b="1">
                <a:solidFill>
                  <a:schemeClr val="tx1"/>
                </a:solidFill>
              </a:rPr>
              <a:t>T</a:t>
            </a:r>
          </a:p>
        </p:txBody>
      </p:sp>
      <p:pic>
        <p:nvPicPr>
          <p:cNvPr id="109" name="Picture 108">
            <a:extLst>
              <a:ext uri="{FF2B5EF4-FFF2-40B4-BE49-F238E27FC236}">
                <a16:creationId xmlns:a16="http://schemas.microsoft.com/office/drawing/2014/main" id="{74CF508A-544C-41D6-9E1F-4013AA2E7F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69071" y="1090209"/>
            <a:ext cx="2498124" cy="1327051"/>
          </a:xfrm>
          <a:prstGeom prst="rect">
            <a:avLst/>
          </a:prstGeom>
        </p:spPr>
      </p:pic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C3086CB0-065E-48E4-B87A-2BE477F02150}"/>
              </a:ext>
            </a:extLst>
          </p:cNvPr>
          <p:cNvCxnSpPr/>
          <p:nvPr/>
        </p:nvCxnSpPr>
        <p:spPr bwMode="auto">
          <a:xfrm>
            <a:off x="7512570" y="2294237"/>
            <a:ext cx="3930717" cy="0"/>
          </a:xfrm>
          <a:prstGeom prst="line">
            <a:avLst/>
          </a:prstGeom>
          <a:solidFill>
            <a:schemeClr val="tx2"/>
          </a:solidFill>
          <a:ln w="76200" cap="flat" cmpd="sng" algn="ctr">
            <a:solidFill>
              <a:srgbClr val="0000C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7" name="Rectangle 126">
            <a:extLst>
              <a:ext uri="{FF2B5EF4-FFF2-40B4-BE49-F238E27FC236}">
                <a16:creationId xmlns:a16="http://schemas.microsoft.com/office/drawing/2014/main" id="{97CF54C3-0D13-4284-882E-C347CD90CFE7}"/>
              </a:ext>
            </a:extLst>
          </p:cNvPr>
          <p:cNvSpPr/>
          <p:nvPr/>
        </p:nvSpPr>
        <p:spPr bwMode="auto">
          <a:xfrm rot="16200000">
            <a:off x="10669076" y="1395175"/>
            <a:ext cx="2113246" cy="543105"/>
          </a:xfrm>
          <a:prstGeom prst="rect">
            <a:avLst/>
          </a:prstGeom>
          <a:noFill/>
          <a:ln w="76200">
            <a:solidFill>
              <a:schemeClr val="bg2">
                <a:lumMod val="50000"/>
              </a:schemeClr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endParaRPr lang="de-DE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CEBA408E-5B89-4889-A940-8AEA10B9AD8F}"/>
              </a:ext>
            </a:extLst>
          </p:cNvPr>
          <p:cNvGrpSpPr/>
          <p:nvPr/>
        </p:nvGrpSpPr>
        <p:grpSpPr>
          <a:xfrm rot="10800000">
            <a:off x="10976736" y="2150629"/>
            <a:ext cx="242736" cy="287214"/>
            <a:chOff x="8014831" y="4649229"/>
            <a:chExt cx="242736" cy="287214"/>
          </a:xfrm>
        </p:grpSpPr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D5576CBF-5970-4A1C-92A5-81B32EB5407E}"/>
                </a:ext>
              </a:extLst>
            </p:cNvPr>
            <p:cNvSpPr/>
            <p:nvPr/>
          </p:nvSpPr>
          <p:spPr bwMode="auto">
            <a:xfrm>
              <a:off x="8014831" y="4649229"/>
              <a:ext cx="242736" cy="28721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8000" tIns="54000" rIns="36000" bIns="54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0" name="Isosceles Triangle 129">
              <a:extLst>
                <a:ext uri="{FF2B5EF4-FFF2-40B4-BE49-F238E27FC236}">
                  <a16:creationId xmlns:a16="http://schemas.microsoft.com/office/drawing/2014/main" id="{A74EA87B-817C-4558-B007-45C35159C45D}"/>
                </a:ext>
              </a:extLst>
            </p:cNvPr>
            <p:cNvSpPr/>
            <p:nvPr/>
          </p:nvSpPr>
          <p:spPr bwMode="auto">
            <a:xfrm rot="16200000">
              <a:off x="8032200" y="4698076"/>
              <a:ext cx="204692" cy="189521"/>
            </a:xfrm>
            <a:prstGeom prst="triangle">
              <a:avLst/>
            </a:prstGeom>
            <a:solidFill>
              <a:srgbClr val="0000CA"/>
            </a:solidFill>
            <a:ln w="25400">
              <a:noFill/>
              <a:miter lim="800000"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</a:pPr>
              <a:endParaRPr lang="de-DE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2998C113-5DC4-4F08-81FC-480AF9B2913A}"/>
              </a:ext>
            </a:extLst>
          </p:cNvPr>
          <p:cNvCxnSpPr/>
          <p:nvPr/>
        </p:nvCxnSpPr>
        <p:spPr bwMode="auto">
          <a:xfrm>
            <a:off x="7512570" y="961213"/>
            <a:ext cx="3930717" cy="0"/>
          </a:xfrm>
          <a:prstGeom prst="line">
            <a:avLst/>
          </a:prstGeom>
          <a:solidFill>
            <a:schemeClr val="tx2"/>
          </a:solidFill>
          <a:ln w="76200" cap="flat" cmpd="sng" algn="ctr">
            <a:solidFill>
              <a:srgbClr val="0000C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8A63F059-9CCD-4DD0-B905-BDAC584C6458}"/>
              </a:ext>
            </a:extLst>
          </p:cNvPr>
          <p:cNvGrpSpPr/>
          <p:nvPr/>
        </p:nvGrpSpPr>
        <p:grpSpPr>
          <a:xfrm>
            <a:off x="10976736" y="817606"/>
            <a:ext cx="242736" cy="287214"/>
            <a:chOff x="8014831" y="4649229"/>
            <a:chExt cx="242736" cy="287214"/>
          </a:xfrm>
        </p:grpSpPr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3F2C583D-B396-40EE-BEF1-CDF2228BBED1}"/>
                </a:ext>
              </a:extLst>
            </p:cNvPr>
            <p:cNvSpPr/>
            <p:nvPr/>
          </p:nvSpPr>
          <p:spPr bwMode="auto">
            <a:xfrm>
              <a:off x="8014831" y="4649229"/>
              <a:ext cx="242736" cy="28721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8000" tIns="54000" rIns="36000" bIns="54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35" name="Isosceles Triangle 134">
              <a:extLst>
                <a:ext uri="{FF2B5EF4-FFF2-40B4-BE49-F238E27FC236}">
                  <a16:creationId xmlns:a16="http://schemas.microsoft.com/office/drawing/2014/main" id="{0FEAFA66-443A-4BD4-837E-E8DE4CA3BE7B}"/>
                </a:ext>
              </a:extLst>
            </p:cNvPr>
            <p:cNvSpPr/>
            <p:nvPr/>
          </p:nvSpPr>
          <p:spPr bwMode="auto">
            <a:xfrm rot="16200000">
              <a:off x="8032200" y="4698076"/>
              <a:ext cx="204692" cy="189521"/>
            </a:xfrm>
            <a:prstGeom prst="triangle">
              <a:avLst/>
            </a:prstGeom>
            <a:solidFill>
              <a:srgbClr val="0000CA"/>
            </a:solidFill>
            <a:ln w="25400">
              <a:noFill/>
              <a:miter lim="800000"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</a:pPr>
              <a:endParaRPr lang="de-DE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1029" name="Group 1028">
            <a:extLst>
              <a:ext uri="{FF2B5EF4-FFF2-40B4-BE49-F238E27FC236}">
                <a16:creationId xmlns:a16="http://schemas.microsoft.com/office/drawing/2014/main" id="{4ABD8EE3-1BA3-4B31-8704-5EA383EE3856}"/>
              </a:ext>
            </a:extLst>
          </p:cNvPr>
          <p:cNvGrpSpPr/>
          <p:nvPr/>
        </p:nvGrpSpPr>
        <p:grpSpPr>
          <a:xfrm>
            <a:off x="9045617" y="2066213"/>
            <a:ext cx="301106" cy="522950"/>
            <a:chOff x="8723158" y="4646093"/>
            <a:chExt cx="301106" cy="522950"/>
          </a:xfrm>
        </p:grpSpPr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F21C1A85-2E71-445F-B114-31AF8BD2C8B5}"/>
                </a:ext>
              </a:extLst>
            </p:cNvPr>
            <p:cNvGrpSpPr/>
            <p:nvPr/>
          </p:nvGrpSpPr>
          <p:grpSpPr>
            <a:xfrm rot="16200000">
              <a:off x="8612236" y="4757015"/>
              <a:ext cx="522950" cy="301106"/>
              <a:chOff x="10997936" y="4512462"/>
              <a:chExt cx="215204" cy="382394"/>
            </a:xfrm>
            <a:solidFill>
              <a:schemeClr val="bg1"/>
            </a:solidFill>
          </p:grpSpPr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7769C5C0-F3E7-4202-A8AB-0049551A4052}"/>
                  </a:ext>
                </a:extLst>
              </p:cNvPr>
              <p:cNvSpPr/>
              <p:nvPr/>
            </p:nvSpPr>
            <p:spPr bwMode="auto">
              <a:xfrm>
                <a:off x="10997936" y="4512464"/>
                <a:ext cx="215204" cy="382392"/>
              </a:xfrm>
              <a:prstGeom prst="rect">
                <a:avLst/>
              </a:prstGeom>
              <a:grpFill/>
              <a:ln w="25400">
                <a:solidFill>
                  <a:schemeClr val="bg2">
                    <a:lumMod val="50000"/>
                  </a:schemeClr>
                </a:solidFill>
                <a:miter lim="800000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de-DE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cxnSp>
            <p:nvCxnSpPr>
              <p:cNvPr id="103" name="Straight Connector 102">
                <a:extLst>
                  <a:ext uri="{FF2B5EF4-FFF2-40B4-BE49-F238E27FC236}">
                    <a16:creationId xmlns:a16="http://schemas.microsoft.com/office/drawing/2014/main" id="{D49CC82B-51AF-4253-AA2F-79C4B18B752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rot="5400000" flipV="1">
                <a:off x="10916690" y="4597287"/>
                <a:ext cx="374874" cy="205224"/>
              </a:xfrm>
              <a:prstGeom prst="line">
                <a:avLst/>
              </a:prstGeom>
              <a:grpFill/>
              <a:ln w="25400">
                <a:solidFill>
                  <a:schemeClr val="bg2">
                    <a:lumMod val="50000"/>
                  </a:schemeClr>
                </a:solidFill>
                <a:miter lim="800000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25B99AD1-AD33-4622-80E2-6B3358774FC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10997936" y="4512463"/>
                <a:ext cx="215204" cy="374400"/>
              </a:xfrm>
              <a:prstGeom prst="line">
                <a:avLst/>
              </a:prstGeom>
              <a:grpFill/>
              <a:ln w="25400">
                <a:solidFill>
                  <a:schemeClr val="bg2">
                    <a:lumMod val="50000"/>
                  </a:schemeClr>
                </a:solidFill>
                <a:miter lim="800000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FA5A95D5-14C8-456A-B5BE-59DAF268A9BA}"/>
                </a:ext>
              </a:extLst>
            </p:cNvPr>
            <p:cNvCxnSpPr/>
            <p:nvPr/>
          </p:nvCxnSpPr>
          <p:spPr bwMode="auto">
            <a:xfrm flipH="1">
              <a:off x="8817859" y="4710977"/>
              <a:ext cx="110490" cy="0"/>
            </a:xfrm>
            <a:prstGeom prst="line">
              <a:avLst/>
            </a:prstGeom>
            <a:solidFill>
              <a:schemeClr val="bg1"/>
            </a:solidFill>
            <a:ln w="25400">
              <a:solidFill>
                <a:schemeClr val="bg2">
                  <a:lumMod val="50000"/>
                </a:schemeClr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grpSp>
        <p:nvGrpSpPr>
          <p:cNvPr id="1030" name="Group 1029">
            <a:extLst>
              <a:ext uri="{FF2B5EF4-FFF2-40B4-BE49-F238E27FC236}">
                <a16:creationId xmlns:a16="http://schemas.microsoft.com/office/drawing/2014/main" id="{2CA9236E-499F-4B2E-8F84-1F793AA2F199}"/>
              </a:ext>
            </a:extLst>
          </p:cNvPr>
          <p:cNvGrpSpPr/>
          <p:nvPr/>
        </p:nvGrpSpPr>
        <p:grpSpPr>
          <a:xfrm>
            <a:off x="9542853" y="2058526"/>
            <a:ext cx="301106" cy="522950"/>
            <a:chOff x="9220394" y="4638406"/>
            <a:chExt cx="301106" cy="522950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47E20BDE-942F-4AD7-92A4-864E332E1AD7}"/>
                </a:ext>
              </a:extLst>
            </p:cNvPr>
            <p:cNvGrpSpPr/>
            <p:nvPr/>
          </p:nvGrpSpPr>
          <p:grpSpPr>
            <a:xfrm rot="16200000">
              <a:off x="9109472" y="4749328"/>
              <a:ext cx="522950" cy="301106"/>
              <a:chOff x="10997936" y="4512462"/>
              <a:chExt cx="215204" cy="382394"/>
            </a:xfrm>
            <a:solidFill>
              <a:schemeClr val="bg1"/>
            </a:solidFill>
          </p:grpSpPr>
          <p:sp>
            <p:nvSpPr>
              <p:cNvPr id="94" name="Rectangle 93">
                <a:extLst>
                  <a:ext uri="{FF2B5EF4-FFF2-40B4-BE49-F238E27FC236}">
                    <a16:creationId xmlns:a16="http://schemas.microsoft.com/office/drawing/2014/main" id="{F559B03D-39B3-461D-B712-A9AA2ECA4BCD}"/>
                  </a:ext>
                </a:extLst>
              </p:cNvPr>
              <p:cNvSpPr/>
              <p:nvPr/>
            </p:nvSpPr>
            <p:spPr bwMode="auto">
              <a:xfrm>
                <a:off x="10997936" y="4512464"/>
                <a:ext cx="215204" cy="382392"/>
              </a:xfrm>
              <a:prstGeom prst="rect">
                <a:avLst/>
              </a:prstGeom>
              <a:grpFill/>
              <a:ln w="25400">
                <a:solidFill>
                  <a:schemeClr val="bg2">
                    <a:lumMod val="50000"/>
                  </a:schemeClr>
                </a:solidFill>
                <a:miter lim="800000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de-DE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49CD0C1F-BE98-458F-B74D-C31A667CC81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rot="5400000" flipV="1">
                <a:off x="10916690" y="4597287"/>
                <a:ext cx="374874" cy="205224"/>
              </a:xfrm>
              <a:prstGeom prst="line">
                <a:avLst/>
              </a:prstGeom>
              <a:grpFill/>
              <a:ln w="25400">
                <a:solidFill>
                  <a:schemeClr val="bg2">
                    <a:lumMod val="50000"/>
                  </a:schemeClr>
                </a:solidFill>
                <a:miter lim="800000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FE19654-BA2B-4F99-9C1C-D7FD79876DBB}"/>
                </a:ext>
              </a:extLst>
            </p:cNvPr>
            <p:cNvGrpSpPr/>
            <p:nvPr/>
          </p:nvGrpSpPr>
          <p:grpSpPr>
            <a:xfrm>
              <a:off x="9303152" y="4665719"/>
              <a:ext cx="121539" cy="123044"/>
              <a:chOff x="5061585" y="2973937"/>
              <a:chExt cx="110490" cy="123044"/>
            </a:xfrm>
            <a:solidFill>
              <a:schemeClr val="bg1"/>
            </a:solidFill>
          </p:grpSpPr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08A4291E-B24E-4B41-BFFB-135E11C72648}"/>
                  </a:ext>
                </a:extLst>
              </p:cNvPr>
              <p:cNvCxnSpPr/>
              <p:nvPr/>
            </p:nvCxnSpPr>
            <p:spPr bwMode="auto">
              <a:xfrm>
                <a:off x="5116830" y="2973937"/>
                <a:ext cx="0" cy="123044"/>
              </a:xfrm>
              <a:prstGeom prst="line">
                <a:avLst/>
              </a:prstGeom>
              <a:grpFill/>
              <a:ln w="25400">
                <a:solidFill>
                  <a:schemeClr val="bg2">
                    <a:lumMod val="50000"/>
                  </a:schemeClr>
                </a:solidFill>
                <a:miter lim="800000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40CEDD4E-A936-446B-923E-9934A266E7E6}"/>
                  </a:ext>
                </a:extLst>
              </p:cNvPr>
              <p:cNvCxnSpPr/>
              <p:nvPr/>
            </p:nvCxnSpPr>
            <p:spPr bwMode="auto">
              <a:xfrm flipH="1">
                <a:off x="5061585" y="3038720"/>
                <a:ext cx="110490" cy="0"/>
              </a:xfrm>
              <a:prstGeom prst="line">
                <a:avLst/>
              </a:prstGeom>
              <a:grpFill/>
              <a:ln w="25400">
                <a:solidFill>
                  <a:schemeClr val="bg2">
                    <a:lumMod val="50000"/>
                  </a:schemeClr>
                </a:solidFill>
                <a:miter lim="800000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3DB31EC1-297A-42A2-92CC-9B5EA3B7DE53}"/>
              </a:ext>
            </a:extLst>
          </p:cNvPr>
          <p:cNvGrpSpPr/>
          <p:nvPr/>
        </p:nvGrpSpPr>
        <p:grpSpPr>
          <a:xfrm rot="16200000">
            <a:off x="8186000" y="2151116"/>
            <a:ext cx="522950" cy="301104"/>
            <a:chOff x="10997936" y="4512464"/>
            <a:chExt cx="215204" cy="382392"/>
          </a:xfrm>
          <a:solidFill>
            <a:schemeClr val="bg1"/>
          </a:solidFill>
        </p:grpSpPr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AFC1B7E0-E286-42AA-A5FD-A0E9C6AFBB9A}"/>
                </a:ext>
              </a:extLst>
            </p:cNvPr>
            <p:cNvSpPr/>
            <p:nvPr/>
          </p:nvSpPr>
          <p:spPr bwMode="auto">
            <a:xfrm>
              <a:off x="10997936" y="4512464"/>
              <a:ext cx="215204" cy="382392"/>
            </a:xfrm>
            <a:prstGeom prst="rect">
              <a:avLst/>
            </a:prstGeom>
            <a:grpFill/>
            <a:ln w="25400">
              <a:solidFill>
                <a:schemeClr val="bg2">
                  <a:lumMod val="50000"/>
                </a:schemeClr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</a:pPr>
              <a:endParaRPr lang="de-DE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1002319D-AB75-4C3F-ACC9-8534AFF40BCB}"/>
                </a:ext>
              </a:extLst>
            </p:cNvPr>
            <p:cNvCxnSpPr>
              <a:cxnSpLocks/>
              <a:stCxn id="140" idx="1"/>
              <a:endCxn id="140" idx="2"/>
            </p:cNvCxnSpPr>
            <p:nvPr/>
          </p:nvCxnSpPr>
          <p:spPr bwMode="auto">
            <a:xfrm rot="5400000" flipV="1">
              <a:off x="10956139" y="4745457"/>
              <a:ext cx="191196" cy="107602"/>
            </a:xfrm>
            <a:prstGeom prst="line">
              <a:avLst/>
            </a:prstGeom>
            <a:grpFill/>
            <a:ln w="25400">
              <a:solidFill>
                <a:schemeClr val="bg2">
                  <a:lumMod val="50000"/>
                </a:schemeClr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DFC8259C-5A98-4430-A37A-E0DA1F1EA8B7}"/>
                </a:ext>
              </a:extLst>
            </p:cNvPr>
            <p:cNvCxnSpPr>
              <a:cxnSpLocks/>
              <a:stCxn id="140" idx="3"/>
              <a:endCxn id="140" idx="2"/>
            </p:cNvCxnSpPr>
            <p:nvPr/>
          </p:nvCxnSpPr>
          <p:spPr bwMode="auto">
            <a:xfrm rot="5400000">
              <a:off x="11063741" y="4745457"/>
              <a:ext cx="191196" cy="107602"/>
            </a:xfrm>
            <a:prstGeom prst="line">
              <a:avLst/>
            </a:prstGeom>
            <a:grpFill/>
            <a:ln w="25400">
              <a:solidFill>
                <a:schemeClr val="bg2">
                  <a:lumMod val="50000"/>
                </a:schemeClr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cxnSp>
        <p:nvCxnSpPr>
          <p:cNvPr id="1041" name="Straight Connector 1040">
            <a:extLst>
              <a:ext uri="{FF2B5EF4-FFF2-40B4-BE49-F238E27FC236}">
                <a16:creationId xmlns:a16="http://schemas.microsoft.com/office/drawing/2014/main" id="{AA79F5A4-5718-4431-91A5-C5C964C25856}"/>
              </a:ext>
            </a:extLst>
          </p:cNvPr>
          <p:cNvCxnSpPr/>
          <p:nvPr/>
        </p:nvCxnSpPr>
        <p:spPr bwMode="auto">
          <a:xfrm>
            <a:off x="9107428" y="2589163"/>
            <a:ext cx="13469" cy="834378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49617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1F45ED20-E096-493E-9D0F-779043EDFCA7}"/>
              </a:ext>
            </a:extLst>
          </p:cNvPr>
          <p:cNvCxnSpPr/>
          <p:nvPr/>
        </p:nvCxnSpPr>
        <p:spPr bwMode="auto">
          <a:xfrm>
            <a:off x="9285929" y="2589163"/>
            <a:ext cx="0" cy="834378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49617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0457F5DE-B953-44C6-9312-32EC0591EA30}"/>
              </a:ext>
            </a:extLst>
          </p:cNvPr>
          <p:cNvGrpSpPr/>
          <p:nvPr/>
        </p:nvGrpSpPr>
        <p:grpSpPr>
          <a:xfrm>
            <a:off x="8922714" y="2775566"/>
            <a:ext cx="297146" cy="180736"/>
            <a:chOff x="5911240" y="5012523"/>
            <a:chExt cx="620858" cy="377631"/>
          </a:xfrm>
        </p:grpSpPr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CFD3BD33-112E-4897-8115-A4D5D69167B3}"/>
                </a:ext>
              </a:extLst>
            </p:cNvPr>
            <p:cNvCxnSpPr>
              <a:cxnSpLocks/>
              <a:endCxn id="161" idx="6"/>
            </p:cNvCxnSpPr>
            <p:nvPr/>
          </p:nvCxnSpPr>
          <p:spPr bwMode="auto">
            <a:xfrm flipH="1">
              <a:off x="6158697" y="5205215"/>
              <a:ext cx="152236" cy="4203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bg2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8" name="Isosceles Triangle 157">
              <a:extLst>
                <a:ext uri="{FF2B5EF4-FFF2-40B4-BE49-F238E27FC236}">
                  <a16:creationId xmlns:a16="http://schemas.microsoft.com/office/drawing/2014/main" id="{0BA6C29D-C3BB-4702-B811-9AAAE0E8F488}"/>
                </a:ext>
              </a:extLst>
            </p:cNvPr>
            <p:cNvSpPr/>
            <p:nvPr/>
          </p:nvSpPr>
          <p:spPr bwMode="auto">
            <a:xfrm rot="10800000">
              <a:off x="6181617" y="5012523"/>
              <a:ext cx="258631" cy="189521"/>
            </a:xfrm>
            <a:prstGeom prst="triangle">
              <a:avLst/>
            </a:prstGeom>
            <a:solidFill>
              <a:schemeClr val="bg2">
                <a:lumMod val="50000"/>
              </a:schemeClr>
            </a:solidFill>
            <a:ln w="19050">
              <a:solidFill>
                <a:schemeClr val="bg2">
                  <a:lumMod val="50000"/>
                </a:schemeClr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59" name="Isosceles Triangle 158">
              <a:extLst>
                <a:ext uri="{FF2B5EF4-FFF2-40B4-BE49-F238E27FC236}">
                  <a16:creationId xmlns:a16="http://schemas.microsoft.com/office/drawing/2014/main" id="{0FC621C7-C831-4FA2-BE97-314D9B76FF6A}"/>
                </a:ext>
              </a:extLst>
            </p:cNvPr>
            <p:cNvSpPr/>
            <p:nvPr/>
          </p:nvSpPr>
          <p:spPr bwMode="auto">
            <a:xfrm>
              <a:off x="6181617" y="5200633"/>
              <a:ext cx="258631" cy="189521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chemeClr val="bg2">
                  <a:lumMod val="50000"/>
                </a:schemeClr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</a:pPr>
              <a:endParaRPr lang="de-DE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60" name="Isosceles Triangle 159">
              <a:extLst>
                <a:ext uri="{FF2B5EF4-FFF2-40B4-BE49-F238E27FC236}">
                  <a16:creationId xmlns:a16="http://schemas.microsoft.com/office/drawing/2014/main" id="{6AD9EDFC-C372-4F24-9623-72829DF73198}"/>
                </a:ext>
              </a:extLst>
            </p:cNvPr>
            <p:cNvSpPr/>
            <p:nvPr/>
          </p:nvSpPr>
          <p:spPr bwMode="auto">
            <a:xfrm rot="16200000">
              <a:off x="6308022" y="5109070"/>
              <a:ext cx="258631" cy="189521"/>
            </a:xfrm>
            <a:prstGeom prst="triangle">
              <a:avLst/>
            </a:prstGeom>
            <a:solidFill>
              <a:schemeClr val="bg2">
                <a:lumMod val="50000"/>
              </a:schemeClr>
            </a:solidFill>
            <a:ln w="19050">
              <a:solidFill>
                <a:schemeClr val="bg2">
                  <a:lumMod val="50000"/>
                </a:schemeClr>
              </a:solidFill>
              <a:miter lim="800000"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</a:pPr>
              <a:endParaRPr lang="de-DE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F9C6EA09-B722-4847-A40A-BA665AC19822}"/>
                </a:ext>
              </a:extLst>
            </p:cNvPr>
            <p:cNvSpPr/>
            <p:nvPr/>
          </p:nvSpPr>
          <p:spPr bwMode="auto">
            <a:xfrm>
              <a:off x="5911240" y="5085689"/>
              <a:ext cx="247457" cy="247457"/>
            </a:xfrm>
            <a:prstGeom prst="ellipse">
              <a:avLst/>
            </a:prstGeom>
            <a:noFill/>
            <a:ln w="19050">
              <a:solidFill>
                <a:schemeClr val="bg2">
                  <a:lumMod val="50000"/>
                </a:schemeClr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</a:pPr>
              <a:r>
                <a:rPr lang="de-DE" sz="60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M</a:t>
              </a:r>
            </a:p>
          </p:txBody>
        </p:sp>
      </p:grp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93B3406C-91EB-45F5-B154-11DDA4E55F5E}"/>
              </a:ext>
            </a:extLst>
          </p:cNvPr>
          <p:cNvCxnSpPr/>
          <p:nvPr/>
        </p:nvCxnSpPr>
        <p:spPr bwMode="auto">
          <a:xfrm>
            <a:off x="9609396" y="2589163"/>
            <a:ext cx="13469" cy="834378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49617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75EF1636-16D8-4767-ACFE-A1710990DF42}"/>
              </a:ext>
            </a:extLst>
          </p:cNvPr>
          <p:cNvCxnSpPr/>
          <p:nvPr/>
        </p:nvCxnSpPr>
        <p:spPr bwMode="auto">
          <a:xfrm>
            <a:off x="9787897" y="2589163"/>
            <a:ext cx="0" cy="834378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49617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677FCABC-3ACB-4897-A218-FF3E7B066DEF}"/>
              </a:ext>
            </a:extLst>
          </p:cNvPr>
          <p:cNvGrpSpPr/>
          <p:nvPr/>
        </p:nvGrpSpPr>
        <p:grpSpPr>
          <a:xfrm>
            <a:off x="9424682" y="2775566"/>
            <a:ext cx="297146" cy="180736"/>
            <a:chOff x="5911240" y="5012523"/>
            <a:chExt cx="620858" cy="377631"/>
          </a:xfrm>
        </p:grpSpPr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1EF0704A-ED51-4854-ACA0-87D661D5AB08}"/>
                </a:ext>
              </a:extLst>
            </p:cNvPr>
            <p:cNvCxnSpPr>
              <a:cxnSpLocks/>
              <a:endCxn id="175" idx="6"/>
            </p:cNvCxnSpPr>
            <p:nvPr/>
          </p:nvCxnSpPr>
          <p:spPr bwMode="auto">
            <a:xfrm flipH="1">
              <a:off x="6158697" y="5205215"/>
              <a:ext cx="152236" cy="4203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bg2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2" name="Isosceles Triangle 171">
              <a:extLst>
                <a:ext uri="{FF2B5EF4-FFF2-40B4-BE49-F238E27FC236}">
                  <a16:creationId xmlns:a16="http://schemas.microsoft.com/office/drawing/2014/main" id="{A6AD4720-B370-4785-B4B9-01D2CC00C0EE}"/>
                </a:ext>
              </a:extLst>
            </p:cNvPr>
            <p:cNvSpPr/>
            <p:nvPr/>
          </p:nvSpPr>
          <p:spPr bwMode="auto">
            <a:xfrm rot="10800000">
              <a:off x="6181617" y="5012523"/>
              <a:ext cx="258631" cy="189521"/>
            </a:xfrm>
            <a:prstGeom prst="triangle">
              <a:avLst/>
            </a:prstGeom>
            <a:solidFill>
              <a:schemeClr val="bg2">
                <a:lumMod val="50000"/>
              </a:schemeClr>
            </a:solidFill>
            <a:ln w="19050">
              <a:solidFill>
                <a:schemeClr val="bg2">
                  <a:lumMod val="50000"/>
                </a:schemeClr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73" name="Isosceles Triangle 172">
              <a:extLst>
                <a:ext uri="{FF2B5EF4-FFF2-40B4-BE49-F238E27FC236}">
                  <a16:creationId xmlns:a16="http://schemas.microsoft.com/office/drawing/2014/main" id="{470AF321-742F-4EB8-A82E-16F20D616FFE}"/>
                </a:ext>
              </a:extLst>
            </p:cNvPr>
            <p:cNvSpPr/>
            <p:nvPr/>
          </p:nvSpPr>
          <p:spPr bwMode="auto">
            <a:xfrm>
              <a:off x="6181617" y="5200633"/>
              <a:ext cx="258631" cy="189521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chemeClr val="bg2">
                  <a:lumMod val="50000"/>
                </a:schemeClr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</a:pPr>
              <a:endParaRPr lang="de-DE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74" name="Isosceles Triangle 173">
              <a:extLst>
                <a:ext uri="{FF2B5EF4-FFF2-40B4-BE49-F238E27FC236}">
                  <a16:creationId xmlns:a16="http://schemas.microsoft.com/office/drawing/2014/main" id="{E014E9BD-C906-4704-8239-A9CE698C4B80}"/>
                </a:ext>
              </a:extLst>
            </p:cNvPr>
            <p:cNvSpPr/>
            <p:nvPr/>
          </p:nvSpPr>
          <p:spPr bwMode="auto">
            <a:xfrm rot="16200000">
              <a:off x="6308022" y="5109070"/>
              <a:ext cx="258631" cy="189521"/>
            </a:xfrm>
            <a:prstGeom prst="triangle">
              <a:avLst/>
            </a:prstGeom>
            <a:solidFill>
              <a:schemeClr val="bg2">
                <a:lumMod val="50000"/>
              </a:schemeClr>
            </a:solidFill>
            <a:ln w="19050">
              <a:solidFill>
                <a:schemeClr val="bg2">
                  <a:lumMod val="50000"/>
                </a:schemeClr>
              </a:solidFill>
              <a:miter lim="800000"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</a:pPr>
              <a:endParaRPr lang="de-DE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B8DF97D4-F548-4DFD-BEC7-48710A2A7C75}"/>
                </a:ext>
              </a:extLst>
            </p:cNvPr>
            <p:cNvSpPr/>
            <p:nvPr/>
          </p:nvSpPr>
          <p:spPr bwMode="auto">
            <a:xfrm>
              <a:off x="5911240" y="5085689"/>
              <a:ext cx="247457" cy="247457"/>
            </a:xfrm>
            <a:prstGeom prst="ellipse">
              <a:avLst/>
            </a:prstGeom>
            <a:noFill/>
            <a:ln w="19050">
              <a:solidFill>
                <a:schemeClr val="bg2">
                  <a:lumMod val="50000"/>
                </a:schemeClr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</a:pPr>
              <a:r>
                <a:rPr lang="de-DE" sz="60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M</a:t>
              </a:r>
            </a:p>
          </p:txBody>
        </p:sp>
      </p:grp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7900CF1E-DE9C-45F4-9C20-93C7623C8BA9}"/>
              </a:ext>
            </a:extLst>
          </p:cNvPr>
          <p:cNvCxnSpPr>
            <a:cxnSpLocks/>
            <a:endCxn id="3" idx="0"/>
          </p:cNvCxnSpPr>
          <p:nvPr/>
        </p:nvCxnSpPr>
        <p:spPr bwMode="auto">
          <a:xfrm>
            <a:off x="10856167" y="2337018"/>
            <a:ext cx="113" cy="160484"/>
          </a:xfrm>
          <a:prstGeom prst="line">
            <a:avLst/>
          </a:prstGeom>
          <a:solidFill>
            <a:schemeClr val="bg1"/>
          </a:solidFill>
          <a:ln w="25400">
            <a:solidFill>
              <a:schemeClr val="bg2">
                <a:lumMod val="50000"/>
              </a:schemeClr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79" name="Oval 178">
            <a:extLst>
              <a:ext uri="{FF2B5EF4-FFF2-40B4-BE49-F238E27FC236}">
                <a16:creationId xmlns:a16="http://schemas.microsoft.com/office/drawing/2014/main" id="{9257C674-00E1-4E7D-8410-A171723F0F9D}"/>
              </a:ext>
            </a:extLst>
          </p:cNvPr>
          <p:cNvSpPr/>
          <p:nvPr/>
        </p:nvSpPr>
        <p:spPr bwMode="auto">
          <a:xfrm>
            <a:off x="11520754" y="1389800"/>
            <a:ext cx="409889" cy="409889"/>
          </a:xfrm>
          <a:prstGeom prst="ellipse">
            <a:avLst/>
          </a:prstGeom>
          <a:solidFill>
            <a:schemeClr val="bg1"/>
          </a:solidFill>
          <a:ln w="38100">
            <a:solidFill>
              <a:srgbClr val="4A6274"/>
            </a:solidFill>
          </a:ln>
          <a:effectLst/>
        </p:spPr>
        <p:txBody>
          <a:bodyPr wrap="square" lIns="0" tIns="0" rIns="0" bIns="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b="1">
                <a:solidFill>
                  <a:schemeClr val="tx1"/>
                </a:solidFill>
              </a:rPr>
              <a:t>T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BC5C803-395B-4E9A-A354-6A186F8A4621}"/>
              </a:ext>
            </a:extLst>
          </p:cNvPr>
          <p:cNvGrpSpPr/>
          <p:nvPr/>
        </p:nvGrpSpPr>
        <p:grpSpPr>
          <a:xfrm>
            <a:off x="10099513" y="2124669"/>
            <a:ext cx="333525" cy="331239"/>
            <a:chOff x="7170823" y="2963575"/>
            <a:chExt cx="479658" cy="476370"/>
          </a:xfrm>
          <a:solidFill>
            <a:schemeClr val="bg1"/>
          </a:solidFill>
        </p:grpSpPr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0E4EE65A-2F9D-447F-A308-C671BDABB7CE}"/>
                </a:ext>
              </a:extLst>
            </p:cNvPr>
            <p:cNvSpPr/>
            <p:nvPr/>
          </p:nvSpPr>
          <p:spPr bwMode="auto">
            <a:xfrm>
              <a:off x="7170823" y="2963575"/>
              <a:ext cx="476370" cy="476370"/>
            </a:xfrm>
            <a:prstGeom prst="ellipse">
              <a:avLst/>
            </a:prstGeom>
            <a:grpFill/>
            <a:ln w="25400">
              <a:solidFill>
                <a:schemeClr val="bg2">
                  <a:lumMod val="50000"/>
                </a:schemeClr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</a:pPr>
              <a:endParaRPr lang="en-US" b="1">
                <a:solidFill>
                  <a:schemeClr val="bg1"/>
                </a:solidFill>
              </a:endParaRPr>
            </a:p>
          </p:txBody>
        </p: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3B5DB2A6-A4F6-41B5-93D5-D339C358EEFC}"/>
                </a:ext>
              </a:extLst>
            </p:cNvPr>
            <p:cNvCxnSpPr>
              <a:endCxn id="111" idx="1"/>
            </p:cNvCxnSpPr>
            <p:nvPr/>
          </p:nvCxnSpPr>
          <p:spPr bwMode="auto">
            <a:xfrm flipH="1" flipV="1">
              <a:off x="7240590" y="3033336"/>
              <a:ext cx="409891" cy="121344"/>
            </a:xfrm>
            <a:prstGeom prst="line">
              <a:avLst/>
            </a:prstGeom>
            <a:grpFill/>
            <a:ln w="25400">
              <a:solidFill>
                <a:schemeClr val="bg2">
                  <a:lumMod val="50000"/>
                </a:schemeClr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324D32CF-9913-4CC5-A672-D92FEDAA6B7B}"/>
                </a:ext>
              </a:extLst>
            </p:cNvPr>
            <p:cNvCxnSpPr>
              <a:endCxn id="111" idx="3"/>
            </p:cNvCxnSpPr>
            <p:nvPr/>
          </p:nvCxnSpPr>
          <p:spPr bwMode="auto">
            <a:xfrm flipH="1">
              <a:off x="7240590" y="3257550"/>
              <a:ext cx="409890" cy="112630"/>
            </a:xfrm>
            <a:prstGeom prst="line">
              <a:avLst/>
            </a:prstGeom>
            <a:grpFill/>
            <a:ln w="25400">
              <a:solidFill>
                <a:schemeClr val="bg2">
                  <a:lumMod val="50000"/>
                </a:schemeClr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8321C90D-539C-4CB3-9CD5-FB1F7F0FE1AE}"/>
              </a:ext>
            </a:extLst>
          </p:cNvPr>
          <p:cNvGrpSpPr/>
          <p:nvPr/>
        </p:nvGrpSpPr>
        <p:grpSpPr>
          <a:xfrm rot="10800000">
            <a:off x="10099512" y="801351"/>
            <a:ext cx="333522" cy="331239"/>
            <a:chOff x="7170827" y="2963573"/>
            <a:chExt cx="479654" cy="476370"/>
          </a:xfrm>
          <a:solidFill>
            <a:schemeClr val="bg1"/>
          </a:solidFill>
        </p:grpSpPr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72828975-5CD9-469B-ADB2-56C8F55D4D45}"/>
                </a:ext>
              </a:extLst>
            </p:cNvPr>
            <p:cNvSpPr/>
            <p:nvPr/>
          </p:nvSpPr>
          <p:spPr bwMode="auto">
            <a:xfrm>
              <a:off x="7170827" y="2963573"/>
              <a:ext cx="476370" cy="476370"/>
            </a:xfrm>
            <a:prstGeom prst="ellipse">
              <a:avLst/>
            </a:prstGeom>
            <a:grpFill/>
            <a:ln w="25400">
              <a:solidFill>
                <a:schemeClr val="bg2">
                  <a:lumMod val="50000"/>
                </a:schemeClr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</a:pPr>
              <a:endParaRPr lang="en-US" b="1">
                <a:solidFill>
                  <a:schemeClr val="bg1"/>
                </a:solidFill>
              </a:endParaRPr>
            </a:p>
          </p:txBody>
        </p: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5C29F3D5-FD5A-4A01-ADA7-2F4057003876}"/>
                </a:ext>
              </a:extLst>
            </p:cNvPr>
            <p:cNvCxnSpPr>
              <a:endCxn id="182" idx="1"/>
            </p:cNvCxnSpPr>
            <p:nvPr/>
          </p:nvCxnSpPr>
          <p:spPr bwMode="auto">
            <a:xfrm flipH="1" flipV="1">
              <a:off x="7240590" y="3033336"/>
              <a:ext cx="409891" cy="121344"/>
            </a:xfrm>
            <a:prstGeom prst="line">
              <a:avLst/>
            </a:prstGeom>
            <a:grpFill/>
            <a:ln w="25400">
              <a:solidFill>
                <a:schemeClr val="bg2">
                  <a:lumMod val="50000"/>
                </a:schemeClr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2824ED25-AF9B-470D-AF3D-0BF359CC7156}"/>
                </a:ext>
              </a:extLst>
            </p:cNvPr>
            <p:cNvCxnSpPr>
              <a:endCxn id="182" idx="3"/>
            </p:cNvCxnSpPr>
            <p:nvPr/>
          </p:nvCxnSpPr>
          <p:spPr bwMode="auto">
            <a:xfrm flipH="1">
              <a:off x="7240590" y="3257550"/>
              <a:ext cx="409890" cy="112630"/>
            </a:xfrm>
            <a:prstGeom prst="line">
              <a:avLst/>
            </a:prstGeom>
            <a:grpFill/>
            <a:ln w="25400">
              <a:solidFill>
                <a:schemeClr val="bg2">
                  <a:lumMod val="50000"/>
                </a:schemeClr>
              </a:solidFill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pic>
        <p:nvPicPr>
          <p:cNvPr id="186" name="Picture 185">
            <a:extLst>
              <a:ext uri="{FF2B5EF4-FFF2-40B4-BE49-F238E27FC236}">
                <a16:creationId xmlns:a16="http://schemas.microsoft.com/office/drawing/2014/main" id="{AA1F9A0C-1963-4335-9CBE-7DF1A48B16F0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948876" y="143981"/>
            <a:ext cx="5196679" cy="3469883"/>
          </a:xfrm>
          <a:prstGeom prst="rect">
            <a:avLst/>
          </a:prstGeom>
        </p:spPr>
      </p:pic>
      <p:sp>
        <p:nvSpPr>
          <p:cNvPr id="187" name="Rectangle: Folded Corner 395">
            <a:extLst>
              <a:ext uri="{FF2B5EF4-FFF2-40B4-BE49-F238E27FC236}">
                <a16:creationId xmlns:a16="http://schemas.microsoft.com/office/drawing/2014/main" id="{D961F4C1-3016-4436-A129-96F862608A4F}"/>
              </a:ext>
            </a:extLst>
          </p:cNvPr>
          <p:cNvSpPr/>
          <p:nvPr/>
        </p:nvSpPr>
        <p:spPr bwMode="auto">
          <a:xfrm>
            <a:off x="4107029" y="3497740"/>
            <a:ext cx="1954642" cy="3359175"/>
          </a:xfrm>
          <a:prstGeom prst="foldedCorner">
            <a:avLst>
              <a:gd name="adj" fmla="val 8634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88" name="Rechteck 25">
            <a:extLst>
              <a:ext uri="{FF2B5EF4-FFF2-40B4-BE49-F238E27FC236}">
                <a16:creationId xmlns:a16="http://schemas.microsoft.com/office/drawing/2014/main" id="{19D17691-B562-4382-BF6D-D08CE2FD02D3}"/>
              </a:ext>
            </a:extLst>
          </p:cNvPr>
          <p:cNvSpPr/>
          <p:nvPr/>
        </p:nvSpPr>
        <p:spPr bwMode="auto">
          <a:xfrm>
            <a:off x="2160000" y="1728000"/>
            <a:ext cx="156913" cy="51300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  <a:latin typeface="Siemens Sans" pitchFamily="2" charset="0"/>
            </a:endParaRPr>
          </a:p>
        </p:txBody>
      </p:sp>
      <p:sp>
        <p:nvSpPr>
          <p:cNvPr id="189" name="Rectangle: Folded Corner 315">
            <a:extLst>
              <a:ext uri="{FF2B5EF4-FFF2-40B4-BE49-F238E27FC236}">
                <a16:creationId xmlns:a16="http://schemas.microsoft.com/office/drawing/2014/main" id="{01F2A7DE-B837-484D-A1D5-1AFB131B2A31}"/>
              </a:ext>
            </a:extLst>
          </p:cNvPr>
          <p:cNvSpPr/>
          <p:nvPr/>
        </p:nvSpPr>
        <p:spPr bwMode="auto">
          <a:xfrm>
            <a:off x="2202180" y="3497740"/>
            <a:ext cx="1799835" cy="3365413"/>
          </a:xfrm>
          <a:prstGeom prst="foldedCorner">
            <a:avLst>
              <a:gd name="adj" fmla="val 8807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90" name="TextBox 316">
            <a:extLst>
              <a:ext uri="{FF2B5EF4-FFF2-40B4-BE49-F238E27FC236}">
                <a16:creationId xmlns:a16="http://schemas.microsoft.com/office/drawing/2014/main" id="{20A55C80-6B6A-4E7F-9E87-E47C4DB3B489}"/>
              </a:ext>
            </a:extLst>
          </p:cNvPr>
          <p:cNvSpPr txBox="1"/>
          <p:nvPr/>
        </p:nvSpPr>
        <p:spPr>
          <a:xfrm>
            <a:off x="4142482" y="3559431"/>
            <a:ext cx="2318379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US" sz="1400" b="1">
                <a:solidFill>
                  <a:srgbClr val="496173"/>
                </a:solidFill>
              </a:rPr>
              <a:t>Hierarchy  –  Level 1</a:t>
            </a:r>
          </a:p>
        </p:txBody>
      </p:sp>
      <p:sp>
        <p:nvSpPr>
          <p:cNvPr id="191" name="TextBox 316">
            <a:extLst>
              <a:ext uri="{FF2B5EF4-FFF2-40B4-BE49-F238E27FC236}">
                <a16:creationId xmlns:a16="http://schemas.microsoft.com/office/drawing/2014/main" id="{951DFB22-EDD9-4426-A801-B80A585E1F0B}"/>
              </a:ext>
            </a:extLst>
          </p:cNvPr>
          <p:cNvSpPr txBox="1"/>
          <p:nvPr/>
        </p:nvSpPr>
        <p:spPr>
          <a:xfrm>
            <a:off x="2257060" y="3555244"/>
            <a:ext cx="1584033" cy="2185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US" sz="1400" b="1" err="1">
                <a:solidFill>
                  <a:srgbClr val="496173"/>
                </a:solidFill>
              </a:rPr>
              <a:t>Pgm</a:t>
            </a:r>
            <a:r>
              <a:rPr lang="en-US" sz="1400" b="1">
                <a:solidFill>
                  <a:srgbClr val="496173"/>
                </a:solidFill>
              </a:rPr>
              <a:t>  –  Level 0</a:t>
            </a:r>
          </a:p>
        </p:txBody>
      </p:sp>
      <p:sp>
        <p:nvSpPr>
          <p:cNvPr id="199" name="Rectangle 317">
            <a:extLst>
              <a:ext uri="{FF2B5EF4-FFF2-40B4-BE49-F238E27FC236}">
                <a16:creationId xmlns:a16="http://schemas.microsoft.com/office/drawing/2014/main" id="{29878D5C-7DCE-4CF4-B79E-7B4EACDB1C5A}"/>
              </a:ext>
            </a:extLst>
          </p:cNvPr>
          <p:cNvSpPr/>
          <p:nvPr/>
        </p:nvSpPr>
        <p:spPr bwMode="auto">
          <a:xfrm>
            <a:off x="2385791" y="3921440"/>
            <a:ext cx="1440000" cy="1103517"/>
          </a:xfrm>
          <a:prstGeom prst="rect">
            <a:avLst/>
          </a:prstGeom>
          <a:solidFill>
            <a:srgbClr val="B4ECFF"/>
          </a:solidFill>
          <a:ln>
            <a:noFill/>
          </a:ln>
          <a:effectLst>
            <a:outerShdw blurRad="63500" dist="38099" dir="2700000" algn="ctr" rotWithShape="0">
              <a:schemeClr val="accent2">
                <a:lumMod val="50000"/>
                <a:alpha val="75000"/>
              </a:schemeClr>
            </a:outerShdw>
          </a:effectLst>
        </p:spPr>
        <p:txBody>
          <a:bodyPr wrap="square" lIns="108000" tIns="0" rIns="36000" bIns="54000" numCol="1" spcCol="72000" rtlCol="0" anchor="t" anchorCtr="0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tx1"/>
              </a:solidFill>
            </a:endParaRPr>
          </a:p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tx1"/>
              </a:solidFill>
            </a:endParaRPr>
          </a:p>
          <a:p>
            <a:pPr algn="l">
              <a:lnSpc>
                <a:spcPts val="1900"/>
              </a:lnSpc>
              <a:spcBef>
                <a:spcPct val="0"/>
              </a:spcBef>
            </a:pPr>
            <a:br>
              <a:rPr lang="en-US">
                <a:solidFill>
                  <a:schemeClr val="tx1"/>
                </a:solidFill>
              </a:rPr>
            </a:br>
            <a:r>
              <a:rPr lang="en-US">
                <a:solidFill>
                  <a:schemeClr val="tx1"/>
                </a:solidFill>
              </a:rPr>
              <a:t>     </a:t>
            </a:r>
            <a:r>
              <a:rPr lang="en-US" sz="1400">
                <a:solidFill>
                  <a:schemeClr val="tx1"/>
                </a:solidFill>
              </a:rPr>
              <a:t>Type: Unit</a:t>
            </a:r>
          </a:p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tx1"/>
              </a:solidFill>
            </a:endParaRPr>
          </a:p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00" name="Rectangle 558">
            <a:extLst>
              <a:ext uri="{FF2B5EF4-FFF2-40B4-BE49-F238E27FC236}">
                <a16:creationId xmlns:a16="http://schemas.microsoft.com/office/drawing/2014/main" id="{8DAD6EAC-1C88-40FE-80C7-1B778E1F3E93}"/>
              </a:ext>
            </a:extLst>
          </p:cNvPr>
          <p:cNvSpPr/>
          <p:nvPr/>
        </p:nvSpPr>
        <p:spPr bwMode="auto">
          <a:xfrm>
            <a:off x="2382602" y="3920698"/>
            <a:ext cx="1440000" cy="241475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63500" dist="38099" dir="2700000" algn="ctr" rotWithShape="0">
              <a:schemeClr val="accent2">
                <a:lumMod val="50000"/>
                <a:alpha val="75000"/>
              </a:schemeClr>
            </a:outerShdw>
          </a:effectLst>
        </p:spPr>
        <p:txBody>
          <a:bodyPr wrap="square" lIns="36000" tIns="36000" rIns="0" bIns="36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r>
              <a:rPr lang="en-US" sz="1400" err="1">
                <a:solidFill>
                  <a:schemeClr val="tx1"/>
                </a:solidFill>
              </a:rPr>
              <a:t>aoHWIO</a:t>
            </a: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1" name="Oval 329">
            <a:extLst>
              <a:ext uri="{FF2B5EF4-FFF2-40B4-BE49-F238E27FC236}">
                <a16:creationId xmlns:a16="http://schemas.microsoft.com/office/drawing/2014/main" id="{F22FFF72-F635-48AF-96F1-6E219E8E657B}"/>
              </a:ext>
            </a:extLst>
          </p:cNvPr>
          <p:cNvSpPr>
            <a:spLocks noChangeAspect="1"/>
          </p:cNvSpPr>
          <p:nvPr/>
        </p:nvSpPr>
        <p:spPr bwMode="auto">
          <a:xfrm>
            <a:off x="2366000" y="4291188"/>
            <a:ext cx="55045" cy="57871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02" name="Oval 329">
            <a:extLst>
              <a:ext uri="{FF2B5EF4-FFF2-40B4-BE49-F238E27FC236}">
                <a16:creationId xmlns:a16="http://schemas.microsoft.com/office/drawing/2014/main" id="{5BB460E6-FDE4-475B-9942-8ACA0571A2C3}"/>
              </a:ext>
            </a:extLst>
          </p:cNvPr>
          <p:cNvSpPr>
            <a:spLocks noChangeAspect="1"/>
          </p:cNvSpPr>
          <p:nvPr/>
        </p:nvSpPr>
        <p:spPr bwMode="auto">
          <a:xfrm>
            <a:off x="2366000" y="4453044"/>
            <a:ext cx="55045" cy="57871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03" name="Oval 329">
            <a:extLst>
              <a:ext uri="{FF2B5EF4-FFF2-40B4-BE49-F238E27FC236}">
                <a16:creationId xmlns:a16="http://schemas.microsoft.com/office/drawing/2014/main" id="{0C585F87-EE55-42B9-B97E-615745AC0EAD}"/>
              </a:ext>
            </a:extLst>
          </p:cNvPr>
          <p:cNvSpPr>
            <a:spLocks noChangeAspect="1"/>
          </p:cNvSpPr>
          <p:nvPr/>
        </p:nvSpPr>
        <p:spPr bwMode="auto">
          <a:xfrm>
            <a:off x="2366000" y="4605744"/>
            <a:ext cx="55045" cy="57871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04" name="Oval 329">
            <a:extLst>
              <a:ext uri="{FF2B5EF4-FFF2-40B4-BE49-F238E27FC236}">
                <a16:creationId xmlns:a16="http://schemas.microsoft.com/office/drawing/2014/main" id="{AE406BA8-FC96-4507-81F6-1946B6780B72}"/>
              </a:ext>
            </a:extLst>
          </p:cNvPr>
          <p:cNvSpPr>
            <a:spLocks noChangeAspect="1"/>
          </p:cNvSpPr>
          <p:nvPr/>
        </p:nvSpPr>
        <p:spPr bwMode="auto">
          <a:xfrm>
            <a:off x="3796227" y="4291188"/>
            <a:ext cx="55045" cy="57871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05" name="Oval 329">
            <a:extLst>
              <a:ext uri="{FF2B5EF4-FFF2-40B4-BE49-F238E27FC236}">
                <a16:creationId xmlns:a16="http://schemas.microsoft.com/office/drawing/2014/main" id="{4B6D80B8-416F-4C7D-98D3-68035BE794B1}"/>
              </a:ext>
            </a:extLst>
          </p:cNvPr>
          <p:cNvSpPr>
            <a:spLocks noChangeAspect="1"/>
          </p:cNvSpPr>
          <p:nvPr/>
        </p:nvSpPr>
        <p:spPr bwMode="auto">
          <a:xfrm>
            <a:off x="3796227" y="4453044"/>
            <a:ext cx="55045" cy="57871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06" name="Oval 329">
            <a:extLst>
              <a:ext uri="{FF2B5EF4-FFF2-40B4-BE49-F238E27FC236}">
                <a16:creationId xmlns:a16="http://schemas.microsoft.com/office/drawing/2014/main" id="{19325E5B-6F71-4AC0-9FE2-E8598FC4D1CD}"/>
              </a:ext>
            </a:extLst>
          </p:cNvPr>
          <p:cNvSpPr>
            <a:spLocks noChangeAspect="1"/>
          </p:cNvSpPr>
          <p:nvPr/>
        </p:nvSpPr>
        <p:spPr bwMode="auto">
          <a:xfrm>
            <a:off x="3796227" y="4605744"/>
            <a:ext cx="55045" cy="57871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07" name="TextBox 406">
            <a:extLst>
              <a:ext uri="{FF2B5EF4-FFF2-40B4-BE49-F238E27FC236}">
                <a16:creationId xmlns:a16="http://schemas.microsoft.com/office/drawing/2014/main" id="{AD33A104-A813-4DCA-BC59-0D8FE261C9EA}"/>
              </a:ext>
            </a:extLst>
          </p:cNvPr>
          <p:cNvSpPr txBox="1"/>
          <p:nvPr/>
        </p:nvSpPr>
        <p:spPr>
          <a:xfrm>
            <a:off x="3299520" y="4228125"/>
            <a:ext cx="478047" cy="187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200">
                <a:solidFill>
                  <a:srgbClr val="496173"/>
                </a:solidFill>
              </a:rPr>
              <a:t>XT 1</a:t>
            </a:r>
          </a:p>
        </p:txBody>
      </p:sp>
      <p:sp>
        <p:nvSpPr>
          <p:cNvPr id="208" name="TextBox 408">
            <a:extLst>
              <a:ext uri="{FF2B5EF4-FFF2-40B4-BE49-F238E27FC236}">
                <a16:creationId xmlns:a16="http://schemas.microsoft.com/office/drawing/2014/main" id="{26B4235E-43D0-44C8-B7CB-460DF1B7F856}"/>
              </a:ext>
            </a:extLst>
          </p:cNvPr>
          <p:cNvSpPr txBox="1"/>
          <p:nvPr/>
        </p:nvSpPr>
        <p:spPr>
          <a:xfrm>
            <a:off x="2452142" y="4230910"/>
            <a:ext cx="417829" cy="187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US" sz="1200">
                <a:solidFill>
                  <a:srgbClr val="496173"/>
                </a:solidFill>
              </a:rPr>
              <a:t>XO 1</a:t>
            </a:r>
          </a:p>
        </p:txBody>
      </p:sp>
      <p:sp>
        <p:nvSpPr>
          <p:cNvPr id="209" name="TextBox 406">
            <a:extLst>
              <a:ext uri="{FF2B5EF4-FFF2-40B4-BE49-F238E27FC236}">
                <a16:creationId xmlns:a16="http://schemas.microsoft.com/office/drawing/2014/main" id="{EB444458-AB58-4C10-9AD0-0792011C5D4B}"/>
              </a:ext>
            </a:extLst>
          </p:cNvPr>
          <p:cNvSpPr txBox="1"/>
          <p:nvPr/>
        </p:nvSpPr>
        <p:spPr>
          <a:xfrm>
            <a:off x="3299520" y="4384057"/>
            <a:ext cx="478047" cy="187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200">
                <a:solidFill>
                  <a:srgbClr val="496173"/>
                </a:solidFill>
              </a:rPr>
              <a:t>XT 2</a:t>
            </a:r>
          </a:p>
        </p:txBody>
      </p:sp>
      <p:sp>
        <p:nvSpPr>
          <p:cNvPr id="210" name="TextBox 408">
            <a:extLst>
              <a:ext uri="{FF2B5EF4-FFF2-40B4-BE49-F238E27FC236}">
                <a16:creationId xmlns:a16="http://schemas.microsoft.com/office/drawing/2014/main" id="{00CD73E1-4B2D-420D-A181-660400CA647D}"/>
              </a:ext>
            </a:extLst>
          </p:cNvPr>
          <p:cNvSpPr txBox="1"/>
          <p:nvPr/>
        </p:nvSpPr>
        <p:spPr>
          <a:xfrm>
            <a:off x="2452142" y="4386842"/>
            <a:ext cx="417829" cy="187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US" sz="1200">
                <a:solidFill>
                  <a:srgbClr val="496173"/>
                </a:solidFill>
              </a:rPr>
              <a:t>XO 2</a:t>
            </a:r>
          </a:p>
        </p:txBody>
      </p:sp>
      <p:sp>
        <p:nvSpPr>
          <p:cNvPr id="211" name="TextBox 406">
            <a:extLst>
              <a:ext uri="{FF2B5EF4-FFF2-40B4-BE49-F238E27FC236}">
                <a16:creationId xmlns:a16="http://schemas.microsoft.com/office/drawing/2014/main" id="{0248C509-98AF-4B31-9032-FE798081412D}"/>
              </a:ext>
            </a:extLst>
          </p:cNvPr>
          <p:cNvSpPr txBox="1"/>
          <p:nvPr/>
        </p:nvSpPr>
        <p:spPr>
          <a:xfrm>
            <a:off x="3299520" y="4541440"/>
            <a:ext cx="478047" cy="187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200">
                <a:solidFill>
                  <a:srgbClr val="496173"/>
                </a:solidFill>
              </a:rPr>
              <a:t>XT 3</a:t>
            </a:r>
          </a:p>
        </p:txBody>
      </p:sp>
      <p:sp>
        <p:nvSpPr>
          <p:cNvPr id="212" name="TextBox 408">
            <a:extLst>
              <a:ext uri="{FF2B5EF4-FFF2-40B4-BE49-F238E27FC236}">
                <a16:creationId xmlns:a16="http://schemas.microsoft.com/office/drawing/2014/main" id="{2612FBC6-C19E-4F04-9F56-D3C7AF9DCDFD}"/>
              </a:ext>
            </a:extLst>
          </p:cNvPr>
          <p:cNvSpPr txBox="1"/>
          <p:nvPr/>
        </p:nvSpPr>
        <p:spPr>
          <a:xfrm>
            <a:off x="2452142" y="4544225"/>
            <a:ext cx="417829" cy="187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US" sz="1200">
                <a:solidFill>
                  <a:srgbClr val="496173"/>
                </a:solidFill>
              </a:rPr>
              <a:t>XO 3</a:t>
            </a:r>
          </a:p>
        </p:txBody>
      </p: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BB08FFEE-DBAA-4EF8-B4E2-28260625979D}"/>
              </a:ext>
            </a:extLst>
          </p:cNvPr>
          <p:cNvGrpSpPr/>
          <p:nvPr/>
        </p:nvGrpSpPr>
        <p:grpSpPr>
          <a:xfrm>
            <a:off x="2349397" y="5269245"/>
            <a:ext cx="1493580" cy="1103517"/>
            <a:chOff x="2349397" y="4553912"/>
            <a:chExt cx="1493580" cy="1103517"/>
          </a:xfrm>
        </p:grpSpPr>
        <p:grpSp>
          <p:nvGrpSpPr>
            <p:cNvPr id="214" name="Group 45">
              <a:extLst>
                <a:ext uri="{FF2B5EF4-FFF2-40B4-BE49-F238E27FC236}">
                  <a16:creationId xmlns:a16="http://schemas.microsoft.com/office/drawing/2014/main" id="{A520A11F-9674-467E-9E7F-99DD01837EDD}"/>
                </a:ext>
              </a:extLst>
            </p:cNvPr>
            <p:cNvGrpSpPr/>
            <p:nvPr/>
          </p:nvGrpSpPr>
          <p:grpSpPr>
            <a:xfrm>
              <a:off x="2372308" y="4553912"/>
              <a:ext cx="1440000" cy="1103517"/>
              <a:chOff x="2954958" y="4898462"/>
              <a:chExt cx="1440000" cy="1103517"/>
            </a:xfrm>
          </p:grpSpPr>
          <p:sp>
            <p:nvSpPr>
              <p:cNvPr id="223" name="Rectangle 317">
                <a:extLst>
                  <a:ext uri="{FF2B5EF4-FFF2-40B4-BE49-F238E27FC236}">
                    <a16:creationId xmlns:a16="http://schemas.microsoft.com/office/drawing/2014/main" id="{AA17DD3F-92F9-44CB-A0F6-B8CCF24C5E78}"/>
                  </a:ext>
                </a:extLst>
              </p:cNvPr>
              <p:cNvSpPr/>
              <p:nvPr/>
            </p:nvSpPr>
            <p:spPr bwMode="auto">
              <a:xfrm>
                <a:off x="2954958" y="4898462"/>
                <a:ext cx="1440000" cy="1103517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>
                <a:outerShdw blurRad="63500" dist="38099" dir="2700000" algn="ctr" rotWithShape="0">
                  <a:schemeClr val="accent2">
                    <a:lumMod val="50000"/>
                    <a:alpha val="75000"/>
                  </a:scheme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108000" tIns="0" rIns="36000" bIns="54000" numCol="1" spcCol="72000" rtlCol="0" anchor="t" anchorCtr="0">
                <a:noAutofit/>
              </a:bodyPr>
              <a:lstStyle/>
              <a:p>
                <a:pPr algn="l">
                  <a:lnSpc>
                    <a:spcPct val="110000"/>
                  </a:lnSpc>
                  <a:spcBef>
                    <a:spcPct val="0"/>
                  </a:spcBef>
                </a:pPr>
                <a:endParaRPr lang="en-US">
                  <a:solidFill>
                    <a:schemeClr val="tx1"/>
                  </a:solidFill>
                </a:endParaRPr>
              </a:p>
              <a:p>
                <a:pPr algn="l">
                  <a:lnSpc>
                    <a:spcPct val="110000"/>
                  </a:lnSpc>
                  <a:spcBef>
                    <a:spcPct val="0"/>
                  </a:spcBef>
                </a:pPr>
                <a:endParaRPr lang="en-US">
                  <a:solidFill>
                    <a:schemeClr val="tx1"/>
                  </a:solidFill>
                </a:endParaRPr>
              </a:p>
              <a:p>
                <a:pPr algn="l">
                  <a:lnSpc>
                    <a:spcPts val="1900"/>
                  </a:lnSpc>
                  <a:spcBef>
                    <a:spcPct val="0"/>
                  </a:spcBef>
                </a:pPr>
                <a:br>
                  <a:rPr lang="en-US">
                    <a:solidFill>
                      <a:schemeClr val="tx1"/>
                    </a:solidFill>
                  </a:rPr>
                </a:br>
                <a:r>
                  <a:rPr lang="en-US">
                    <a:solidFill>
                      <a:schemeClr val="tx1"/>
                    </a:solidFill>
                  </a:rPr>
                  <a:t>     </a:t>
                </a:r>
                <a:r>
                  <a:rPr lang="en-US" sz="1400">
                    <a:solidFill>
                      <a:schemeClr val="tx1"/>
                    </a:solidFill>
                  </a:rPr>
                  <a:t>Type: Unit</a:t>
                </a:r>
              </a:p>
              <a:p>
                <a:pPr algn="l">
                  <a:lnSpc>
                    <a:spcPct val="110000"/>
                  </a:lnSpc>
                  <a:spcBef>
                    <a:spcPct val="0"/>
                  </a:spcBef>
                </a:pPr>
                <a:endParaRPr lang="en-US">
                  <a:solidFill>
                    <a:schemeClr val="tx1"/>
                  </a:solidFill>
                </a:endParaRPr>
              </a:p>
              <a:p>
                <a:pPr algn="l">
                  <a:lnSpc>
                    <a:spcPct val="110000"/>
                  </a:lnSpc>
                  <a:spcBef>
                    <a:spcPct val="0"/>
                  </a:spcBef>
                </a:pPr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224" name="Rectangle 338">
                <a:extLst>
                  <a:ext uri="{FF2B5EF4-FFF2-40B4-BE49-F238E27FC236}">
                    <a16:creationId xmlns:a16="http://schemas.microsoft.com/office/drawing/2014/main" id="{EF814465-2572-46DE-AFE0-CDAFF01C027F}"/>
                  </a:ext>
                </a:extLst>
              </p:cNvPr>
              <p:cNvSpPr/>
              <p:nvPr/>
            </p:nvSpPr>
            <p:spPr bwMode="auto">
              <a:xfrm>
                <a:off x="2954958" y="4898463"/>
                <a:ext cx="1440000" cy="241475"/>
              </a:xfrm>
              <a:prstGeom prst="rect">
                <a:avLst/>
              </a:prstGeom>
              <a:solidFill>
                <a:srgbClr val="FFFF00"/>
              </a:solidFill>
              <a:ln>
                <a:noFill/>
              </a:ln>
              <a:effectLst>
                <a:outerShdw blurRad="63500" dist="38099" dir="2700000" algn="ctr" rotWithShape="0">
                  <a:schemeClr val="accent2">
                    <a:lumMod val="50000"/>
                    <a:alpha val="75000"/>
                  </a:schemeClr>
                </a:outerShdw>
              </a:effectLst>
            </p:spPr>
            <p:txBody>
              <a:bodyPr wrap="square" lIns="36000" tIns="36000" rIns="0" bIns="36000" numCol="1" spcCol="72000" rtlCol="0" anchor="ctr">
                <a:noAutofit/>
              </a:bodyPr>
              <a:lstStyle/>
              <a:p>
                <a:pPr algn="l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sz="1400" err="1">
                    <a:solidFill>
                      <a:schemeClr val="tx1"/>
                    </a:solidFill>
                  </a:rPr>
                  <a:t>aoHVAC</a:t>
                </a:r>
                <a:endParaRPr lang="en-US" sz="14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15" name="Oval 329">
              <a:extLst>
                <a:ext uri="{FF2B5EF4-FFF2-40B4-BE49-F238E27FC236}">
                  <a16:creationId xmlns:a16="http://schemas.microsoft.com/office/drawing/2014/main" id="{F2D7CA08-BF1A-4A8C-9A9E-4C95D33E7B7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49397" y="4946313"/>
              <a:ext cx="55045" cy="57871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square" lIns="108000" tIns="54000" rIns="36000" bIns="54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6" name="Oval 330">
              <a:extLst>
                <a:ext uri="{FF2B5EF4-FFF2-40B4-BE49-F238E27FC236}">
                  <a16:creationId xmlns:a16="http://schemas.microsoft.com/office/drawing/2014/main" id="{B26E7619-1F8B-4A6C-94FE-CF3773474CB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49397" y="5183783"/>
              <a:ext cx="55045" cy="57871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square" lIns="108000" tIns="54000" rIns="36000" bIns="54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7" name="Oval 331">
              <a:extLst>
                <a:ext uri="{FF2B5EF4-FFF2-40B4-BE49-F238E27FC236}">
                  <a16:creationId xmlns:a16="http://schemas.microsoft.com/office/drawing/2014/main" id="{C4B92DB9-DE10-450F-9E43-4D08130B9E3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787932" y="5128670"/>
              <a:ext cx="55045" cy="57871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square" lIns="108000" tIns="54000" rIns="36000" bIns="54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8" name="TextBox 332">
              <a:extLst>
                <a:ext uri="{FF2B5EF4-FFF2-40B4-BE49-F238E27FC236}">
                  <a16:creationId xmlns:a16="http://schemas.microsoft.com/office/drawing/2014/main" id="{8F3EDC30-F870-4713-88E4-F933DD1D79F4}"/>
                </a:ext>
              </a:extLst>
            </p:cNvPr>
            <p:cNvSpPr txBox="1"/>
            <p:nvPr/>
          </p:nvSpPr>
          <p:spPr>
            <a:xfrm>
              <a:off x="3430971" y="5051549"/>
              <a:ext cx="336344" cy="1874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>
                  <a:solidFill>
                    <a:schemeClr val="accent5">
                      <a:lumMod val="75000"/>
                    </a:schemeClr>
                  </a:solidFill>
                </a:rPr>
                <a:t>DO1</a:t>
              </a:r>
            </a:p>
          </p:txBody>
        </p:sp>
        <p:sp>
          <p:nvSpPr>
            <p:cNvPr id="219" name="TextBox 333">
              <a:extLst>
                <a:ext uri="{FF2B5EF4-FFF2-40B4-BE49-F238E27FC236}">
                  <a16:creationId xmlns:a16="http://schemas.microsoft.com/office/drawing/2014/main" id="{6A86EBBD-17A2-4F64-8E70-E2259AE5DC50}"/>
                </a:ext>
              </a:extLst>
            </p:cNvPr>
            <p:cNvSpPr txBox="1"/>
            <p:nvPr/>
          </p:nvSpPr>
          <p:spPr>
            <a:xfrm>
              <a:off x="2416949" y="4864125"/>
              <a:ext cx="336029" cy="1874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>
                  <a:solidFill>
                    <a:schemeClr val="accent5">
                      <a:lumMod val="75000"/>
                    </a:schemeClr>
                  </a:solidFill>
                </a:rPr>
                <a:t>ID1</a:t>
              </a:r>
            </a:p>
          </p:txBody>
        </p:sp>
        <p:sp>
          <p:nvSpPr>
            <p:cNvPr id="220" name="TextBox 334">
              <a:extLst>
                <a:ext uri="{FF2B5EF4-FFF2-40B4-BE49-F238E27FC236}">
                  <a16:creationId xmlns:a16="http://schemas.microsoft.com/office/drawing/2014/main" id="{8117170A-CA1D-44D0-9143-B207D5D95F93}"/>
                </a:ext>
              </a:extLst>
            </p:cNvPr>
            <p:cNvSpPr txBox="1"/>
            <p:nvPr/>
          </p:nvSpPr>
          <p:spPr>
            <a:xfrm>
              <a:off x="2416949" y="5102020"/>
              <a:ext cx="356366" cy="1874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>
                  <a:solidFill>
                    <a:schemeClr val="accent5">
                      <a:lumMod val="75000"/>
                    </a:schemeClr>
                  </a:solidFill>
                </a:rPr>
                <a:t>ID2</a:t>
              </a:r>
            </a:p>
          </p:txBody>
        </p:sp>
        <p:sp>
          <p:nvSpPr>
            <p:cNvPr id="221" name="Oval 330">
              <a:extLst>
                <a:ext uri="{FF2B5EF4-FFF2-40B4-BE49-F238E27FC236}">
                  <a16:creationId xmlns:a16="http://schemas.microsoft.com/office/drawing/2014/main" id="{85CEE738-7271-4AE0-BC26-053EE901163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49397" y="5402513"/>
              <a:ext cx="55045" cy="57871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square" lIns="108000" tIns="54000" rIns="36000" bIns="54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2" name="TextBox 334">
              <a:extLst>
                <a:ext uri="{FF2B5EF4-FFF2-40B4-BE49-F238E27FC236}">
                  <a16:creationId xmlns:a16="http://schemas.microsoft.com/office/drawing/2014/main" id="{691A53EC-5B0C-41C9-83FC-360FBCF2BC57}"/>
                </a:ext>
              </a:extLst>
            </p:cNvPr>
            <p:cNvSpPr txBox="1"/>
            <p:nvPr/>
          </p:nvSpPr>
          <p:spPr>
            <a:xfrm>
              <a:off x="2416949" y="5320750"/>
              <a:ext cx="356366" cy="1874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>
                  <a:solidFill>
                    <a:schemeClr val="accent5">
                      <a:lumMod val="75000"/>
                    </a:schemeClr>
                  </a:solidFill>
                </a:rPr>
                <a:t>ID3</a:t>
              </a:r>
            </a:p>
          </p:txBody>
        </p:sp>
      </p:grpSp>
      <p:grpSp>
        <p:nvGrpSpPr>
          <p:cNvPr id="226" name="Group 25">
            <a:extLst>
              <a:ext uri="{FF2B5EF4-FFF2-40B4-BE49-F238E27FC236}">
                <a16:creationId xmlns:a16="http://schemas.microsoft.com/office/drawing/2014/main" id="{ACBA051D-38B6-4E31-8A51-730E80DE4C4E}"/>
              </a:ext>
            </a:extLst>
          </p:cNvPr>
          <p:cNvGrpSpPr/>
          <p:nvPr/>
        </p:nvGrpSpPr>
        <p:grpSpPr>
          <a:xfrm>
            <a:off x="4279085" y="3920698"/>
            <a:ext cx="1498496" cy="2059878"/>
            <a:chOff x="7462552" y="2216854"/>
            <a:chExt cx="1498496" cy="2059878"/>
          </a:xfrm>
        </p:grpSpPr>
        <p:sp>
          <p:nvSpPr>
            <p:cNvPr id="235" name="Rectangle 288">
              <a:extLst>
                <a:ext uri="{FF2B5EF4-FFF2-40B4-BE49-F238E27FC236}">
                  <a16:creationId xmlns:a16="http://schemas.microsoft.com/office/drawing/2014/main" id="{BAC56717-5DF3-4D65-8224-114AD1CAD46E}"/>
                </a:ext>
              </a:extLst>
            </p:cNvPr>
            <p:cNvSpPr/>
            <p:nvPr/>
          </p:nvSpPr>
          <p:spPr bwMode="auto">
            <a:xfrm>
              <a:off x="7493526" y="2216854"/>
              <a:ext cx="1440000" cy="2059878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>
              <a:outerShdw blurRad="63500" dist="38099" dir="2700000" algn="ctr" rotWithShape="0">
                <a:schemeClr val="accent2">
                  <a:lumMod val="50000"/>
                  <a:alpha val="75000"/>
                </a:scheme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08000" tIns="54000" rIns="36000" bIns="54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6" name="Rectangle 289">
              <a:extLst>
                <a:ext uri="{FF2B5EF4-FFF2-40B4-BE49-F238E27FC236}">
                  <a16:creationId xmlns:a16="http://schemas.microsoft.com/office/drawing/2014/main" id="{F55D036D-1F67-4395-83A9-938493F1A76C}"/>
                </a:ext>
              </a:extLst>
            </p:cNvPr>
            <p:cNvSpPr/>
            <p:nvPr/>
          </p:nvSpPr>
          <p:spPr bwMode="auto">
            <a:xfrm>
              <a:off x="7493526" y="2220411"/>
              <a:ext cx="1440000" cy="241475"/>
            </a:xfrm>
            <a:prstGeom prst="rect">
              <a:avLst/>
            </a:prstGeom>
            <a:solidFill>
              <a:srgbClr val="006487"/>
            </a:solidFill>
            <a:ln>
              <a:noFill/>
            </a:ln>
            <a:effectLst>
              <a:outerShdw blurRad="63500" dist="38099" dir="2700000" algn="ctr" rotWithShape="0">
                <a:schemeClr val="accent2">
                  <a:lumMod val="50000"/>
                  <a:alpha val="75000"/>
                </a:schemeClr>
              </a:outerShdw>
            </a:effectLst>
          </p:spPr>
          <p:txBody>
            <a:bodyPr wrap="square" lIns="36000" tIns="36000" rIns="0" bIns="36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r>
                <a:rPr lang="en-US" sz="1400">
                  <a:solidFill>
                    <a:schemeClr val="bg1"/>
                  </a:solidFill>
                </a:rPr>
                <a:t>Controller HW</a:t>
              </a:r>
            </a:p>
          </p:txBody>
        </p:sp>
        <p:sp>
          <p:nvSpPr>
            <p:cNvPr id="237" name="Rectangle 300">
              <a:extLst>
                <a:ext uri="{FF2B5EF4-FFF2-40B4-BE49-F238E27FC236}">
                  <a16:creationId xmlns:a16="http://schemas.microsoft.com/office/drawing/2014/main" id="{E65F615A-B158-4253-A751-C37C0BDE29E9}"/>
                </a:ext>
              </a:extLst>
            </p:cNvPr>
            <p:cNvSpPr/>
            <p:nvPr/>
          </p:nvSpPr>
          <p:spPr bwMode="auto">
            <a:xfrm>
              <a:off x="7493526" y="2468102"/>
              <a:ext cx="1440000" cy="241475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ffectLst>
              <a:outerShdw blurRad="63500" dist="38099" dir="2700000" algn="ctr" rotWithShape="0">
                <a:schemeClr val="accent2">
                  <a:lumMod val="50000"/>
                  <a:alpha val="75000"/>
                </a:schemeClr>
              </a:outerShdw>
            </a:effectLst>
          </p:spPr>
          <p:txBody>
            <a:bodyPr wrap="square" lIns="36000" tIns="36000" rIns="0" bIns="36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r>
                <a:rPr lang="en-US" sz="1400">
                  <a:solidFill>
                    <a:schemeClr val="bg1"/>
                  </a:solidFill>
                </a:rPr>
                <a:t>POL 6x8</a:t>
              </a:r>
            </a:p>
          </p:txBody>
        </p:sp>
        <p:sp>
          <p:nvSpPr>
            <p:cNvPr id="238" name="Oval 396">
              <a:extLst>
                <a:ext uri="{FF2B5EF4-FFF2-40B4-BE49-F238E27FC236}">
                  <a16:creationId xmlns:a16="http://schemas.microsoft.com/office/drawing/2014/main" id="{696DE758-04AE-4281-9D69-D536C56392C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462552" y="2844568"/>
              <a:ext cx="55045" cy="57871"/>
            </a:xfrm>
            <a:prstGeom prst="ellipse">
              <a:avLst/>
            </a:prstGeom>
            <a:solidFill>
              <a:srgbClr val="496173"/>
            </a:solidFill>
            <a:ln>
              <a:noFill/>
            </a:ln>
            <a:effectLst/>
          </p:spPr>
          <p:txBody>
            <a:bodyPr wrap="square" lIns="108000" tIns="54000" rIns="36000" bIns="54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9" name="TextBox 406">
              <a:extLst>
                <a:ext uri="{FF2B5EF4-FFF2-40B4-BE49-F238E27FC236}">
                  <a16:creationId xmlns:a16="http://schemas.microsoft.com/office/drawing/2014/main" id="{7A90E35F-9826-47CF-82A8-3207590D8EEC}"/>
                </a:ext>
              </a:extLst>
            </p:cNvPr>
            <p:cNvSpPr txBox="1"/>
            <p:nvPr/>
          </p:nvSpPr>
          <p:spPr>
            <a:xfrm>
              <a:off x="8407961" y="2782455"/>
              <a:ext cx="478047" cy="1874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>
                  <a:solidFill>
                    <a:srgbClr val="496173"/>
                  </a:solidFill>
                </a:rPr>
                <a:t>XT 1</a:t>
              </a:r>
            </a:p>
          </p:txBody>
        </p:sp>
        <p:sp>
          <p:nvSpPr>
            <p:cNvPr id="240" name="TextBox 408">
              <a:extLst>
                <a:ext uri="{FF2B5EF4-FFF2-40B4-BE49-F238E27FC236}">
                  <a16:creationId xmlns:a16="http://schemas.microsoft.com/office/drawing/2014/main" id="{A5292E85-E5B2-4E5A-82F0-FA99AE5120FD}"/>
                </a:ext>
              </a:extLst>
            </p:cNvPr>
            <p:cNvSpPr txBox="1"/>
            <p:nvPr/>
          </p:nvSpPr>
          <p:spPr>
            <a:xfrm>
              <a:off x="7530103" y="2785240"/>
              <a:ext cx="417829" cy="1874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>
                  <a:solidFill>
                    <a:srgbClr val="496173"/>
                  </a:solidFill>
                </a:rPr>
                <a:t>XO 1</a:t>
              </a:r>
            </a:p>
          </p:txBody>
        </p:sp>
        <p:sp>
          <p:nvSpPr>
            <p:cNvPr id="241" name="Oval 412">
              <a:extLst>
                <a:ext uri="{FF2B5EF4-FFF2-40B4-BE49-F238E27FC236}">
                  <a16:creationId xmlns:a16="http://schemas.microsoft.com/office/drawing/2014/main" id="{540FC1F7-F270-4233-A6CF-B40DEB16208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906003" y="2844568"/>
              <a:ext cx="55045" cy="57871"/>
            </a:xfrm>
            <a:prstGeom prst="ellipse">
              <a:avLst/>
            </a:prstGeom>
            <a:solidFill>
              <a:srgbClr val="496173"/>
            </a:solidFill>
            <a:ln>
              <a:noFill/>
            </a:ln>
            <a:effectLst/>
          </p:spPr>
          <p:txBody>
            <a:bodyPr wrap="square" lIns="108000" tIns="54000" rIns="36000" bIns="54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2" name="Oval 414">
              <a:extLst>
                <a:ext uri="{FF2B5EF4-FFF2-40B4-BE49-F238E27FC236}">
                  <a16:creationId xmlns:a16="http://schemas.microsoft.com/office/drawing/2014/main" id="{A7A32240-79E9-423F-B635-E3EFDAAC899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462552" y="3058143"/>
              <a:ext cx="55045" cy="57871"/>
            </a:xfrm>
            <a:prstGeom prst="ellipse">
              <a:avLst/>
            </a:prstGeom>
            <a:solidFill>
              <a:srgbClr val="496173"/>
            </a:solidFill>
            <a:ln>
              <a:noFill/>
            </a:ln>
            <a:effectLst/>
          </p:spPr>
          <p:txBody>
            <a:bodyPr wrap="square" lIns="108000" tIns="54000" rIns="36000" bIns="54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3" name="TextBox 422">
              <a:extLst>
                <a:ext uri="{FF2B5EF4-FFF2-40B4-BE49-F238E27FC236}">
                  <a16:creationId xmlns:a16="http://schemas.microsoft.com/office/drawing/2014/main" id="{449E2054-EE5C-41D5-9F6E-872A693FB197}"/>
                </a:ext>
              </a:extLst>
            </p:cNvPr>
            <p:cNvSpPr txBox="1"/>
            <p:nvPr/>
          </p:nvSpPr>
          <p:spPr>
            <a:xfrm>
              <a:off x="8407961" y="2996030"/>
              <a:ext cx="478047" cy="1874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>
                  <a:solidFill>
                    <a:srgbClr val="496173"/>
                  </a:solidFill>
                </a:rPr>
                <a:t>XT 2</a:t>
              </a:r>
            </a:p>
          </p:txBody>
        </p:sp>
        <p:sp>
          <p:nvSpPr>
            <p:cNvPr id="244" name="TextBox 423">
              <a:extLst>
                <a:ext uri="{FF2B5EF4-FFF2-40B4-BE49-F238E27FC236}">
                  <a16:creationId xmlns:a16="http://schemas.microsoft.com/office/drawing/2014/main" id="{E5CD9A35-F8FB-44E3-9D25-D28958FD6FDE}"/>
                </a:ext>
              </a:extLst>
            </p:cNvPr>
            <p:cNvSpPr txBox="1"/>
            <p:nvPr/>
          </p:nvSpPr>
          <p:spPr>
            <a:xfrm>
              <a:off x="7530103" y="2998815"/>
              <a:ext cx="417829" cy="1874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>
                  <a:solidFill>
                    <a:srgbClr val="496173"/>
                  </a:solidFill>
                </a:rPr>
                <a:t>XO 2</a:t>
              </a:r>
            </a:p>
          </p:txBody>
        </p:sp>
        <p:sp>
          <p:nvSpPr>
            <p:cNvPr id="245" name="Oval 426">
              <a:extLst>
                <a:ext uri="{FF2B5EF4-FFF2-40B4-BE49-F238E27FC236}">
                  <a16:creationId xmlns:a16="http://schemas.microsoft.com/office/drawing/2014/main" id="{360B6D81-69C3-4D33-B0B8-D3C4503D912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906003" y="3058143"/>
              <a:ext cx="55045" cy="57871"/>
            </a:xfrm>
            <a:prstGeom prst="ellipse">
              <a:avLst/>
            </a:prstGeom>
            <a:solidFill>
              <a:srgbClr val="496173"/>
            </a:solidFill>
            <a:ln>
              <a:noFill/>
            </a:ln>
            <a:effectLst/>
          </p:spPr>
          <p:txBody>
            <a:bodyPr wrap="square" lIns="108000" tIns="54000" rIns="36000" bIns="54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6" name="Oval 428">
              <a:extLst>
                <a:ext uri="{FF2B5EF4-FFF2-40B4-BE49-F238E27FC236}">
                  <a16:creationId xmlns:a16="http://schemas.microsoft.com/office/drawing/2014/main" id="{89C58CAC-BCC0-4E98-A54C-2CD8E6A49BB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462552" y="3295485"/>
              <a:ext cx="55045" cy="57871"/>
            </a:xfrm>
            <a:prstGeom prst="ellipse">
              <a:avLst/>
            </a:prstGeom>
            <a:solidFill>
              <a:srgbClr val="496173"/>
            </a:solidFill>
            <a:ln>
              <a:noFill/>
            </a:ln>
            <a:effectLst/>
          </p:spPr>
          <p:txBody>
            <a:bodyPr wrap="square" lIns="108000" tIns="54000" rIns="36000" bIns="54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7" name="TextBox 436">
              <a:extLst>
                <a:ext uri="{FF2B5EF4-FFF2-40B4-BE49-F238E27FC236}">
                  <a16:creationId xmlns:a16="http://schemas.microsoft.com/office/drawing/2014/main" id="{B10EBA11-8CEE-442A-B99C-E05D55C91F2E}"/>
                </a:ext>
              </a:extLst>
            </p:cNvPr>
            <p:cNvSpPr txBox="1"/>
            <p:nvPr/>
          </p:nvSpPr>
          <p:spPr>
            <a:xfrm>
              <a:off x="8407961" y="3233372"/>
              <a:ext cx="478047" cy="1874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>
                  <a:solidFill>
                    <a:srgbClr val="496173"/>
                  </a:solidFill>
                </a:rPr>
                <a:t>DI 1</a:t>
              </a:r>
            </a:p>
          </p:txBody>
        </p:sp>
        <p:sp>
          <p:nvSpPr>
            <p:cNvPr id="248" name="TextBox 442">
              <a:extLst>
                <a:ext uri="{FF2B5EF4-FFF2-40B4-BE49-F238E27FC236}">
                  <a16:creationId xmlns:a16="http://schemas.microsoft.com/office/drawing/2014/main" id="{2432641B-8829-401C-BA3E-81AFEB045A87}"/>
                </a:ext>
              </a:extLst>
            </p:cNvPr>
            <p:cNvSpPr txBox="1"/>
            <p:nvPr/>
          </p:nvSpPr>
          <p:spPr>
            <a:xfrm>
              <a:off x="7530103" y="3236157"/>
              <a:ext cx="417829" cy="1874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>
                  <a:solidFill>
                    <a:srgbClr val="496173"/>
                  </a:solidFill>
                </a:rPr>
                <a:t>DO 1</a:t>
              </a:r>
            </a:p>
          </p:txBody>
        </p:sp>
        <p:sp>
          <p:nvSpPr>
            <p:cNvPr id="249" name="Oval 443">
              <a:extLst>
                <a:ext uri="{FF2B5EF4-FFF2-40B4-BE49-F238E27FC236}">
                  <a16:creationId xmlns:a16="http://schemas.microsoft.com/office/drawing/2014/main" id="{4CC574EE-7431-43E3-BCF0-69727344C91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906003" y="3295485"/>
              <a:ext cx="55045" cy="57871"/>
            </a:xfrm>
            <a:prstGeom prst="ellipse">
              <a:avLst/>
            </a:prstGeom>
            <a:solidFill>
              <a:srgbClr val="496173"/>
            </a:solidFill>
            <a:ln>
              <a:noFill/>
            </a:ln>
            <a:effectLst/>
          </p:spPr>
          <p:txBody>
            <a:bodyPr wrap="square" lIns="108000" tIns="54000" rIns="36000" bIns="54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50" name="Oval 444">
              <a:extLst>
                <a:ext uri="{FF2B5EF4-FFF2-40B4-BE49-F238E27FC236}">
                  <a16:creationId xmlns:a16="http://schemas.microsoft.com/office/drawing/2014/main" id="{476E745C-0E9A-449A-ADF0-9FB5AF43EA9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462552" y="3515473"/>
              <a:ext cx="55045" cy="57871"/>
            </a:xfrm>
            <a:prstGeom prst="ellipse">
              <a:avLst/>
            </a:prstGeom>
            <a:solidFill>
              <a:srgbClr val="496173"/>
            </a:solidFill>
            <a:ln>
              <a:noFill/>
            </a:ln>
            <a:effectLst/>
          </p:spPr>
          <p:txBody>
            <a:bodyPr wrap="square" lIns="108000" tIns="54000" rIns="36000" bIns="54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51" name="TextBox 445">
              <a:extLst>
                <a:ext uri="{FF2B5EF4-FFF2-40B4-BE49-F238E27FC236}">
                  <a16:creationId xmlns:a16="http://schemas.microsoft.com/office/drawing/2014/main" id="{DFF26D0D-20E3-48D3-AB34-D1334C09C406}"/>
                </a:ext>
              </a:extLst>
            </p:cNvPr>
            <p:cNvSpPr txBox="1"/>
            <p:nvPr/>
          </p:nvSpPr>
          <p:spPr>
            <a:xfrm>
              <a:off x="8407961" y="3453360"/>
              <a:ext cx="478047" cy="1874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>
                  <a:solidFill>
                    <a:srgbClr val="496173"/>
                  </a:solidFill>
                </a:rPr>
                <a:t>DI 2</a:t>
              </a:r>
            </a:p>
          </p:txBody>
        </p:sp>
        <p:sp>
          <p:nvSpPr>
            <p:cNvPr id="252" name="TextBox 446">
              <a:extLst>
                <a:ext uri="{FF2B5EF4-FFF2-40B4-BE49-F238E27FC236}">
                  <a16:creationId xmlns:a16="http://schemas.microsoft.com/office/drawing/2014/main" id="{F75D90CC-5B68-4EBA-8FF0-55C0F766185C}"/>
                </a:ext>
              </a:extLst>
            </p:cNvPr>
            <p:cNvSpPr txBox="1"/>
            <p:nvPr/>
          </p:nvSpPr>
          <p:spPr>
            <a:xfrm>
              <a:off x="7530103" y="3456145"/>
              <a:ext cx="417829" cy="1874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>
                  <a:solidFill>
                    <a:srgbClr val="496173"/>
                  </a:solidFill>
                </a:rPr>
                <a:t>DO 2</a:t>
              </a:r>
            </a:p>
          </p:txBody>
        </p:sp>
        <p:sp>
          <p:nvSpPr>
            <p:cNvPr id="253" name="Oval 447">
              <a:extLst>
                <a:ext uri="{FF2B5EF4-FFF2-40B4-BE49-F238E27FC236}">
                  <a16:creationId xmlns:a16="http://schemas.microsoft.com/office/drawing/2014/main" id="{80890041-13DD-4852-85B5-2198B00A953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906003" y="3515473"/>
              <a:ext cx="55045" cy="57871"/>
            </a:xfrm>
            <a:prstGeom prst="ellipse">
              <a:avLst/>
            </a:prstGeom>
            <a:solidFill>
              <a:srgbClr val="496173"/>
            </a:solidFill>
            <a:ln>
              <a:noFill/>
            </a:ln>
            <a:effectLst/>
          </p:spPr>
          <p:txBody>
            <a:bodyPr wrap="square" lIns="108000" tIns="54000" rIns="36000" bIns="54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54" name="Oval 452">
              <a:extLst>
                <a:ext uri="{FF2B5EF4-FFF2-40B4-BE49-F238E27FC236}">
                  <a16:creationId xmlns:a16="http://schemas.microsoft.com/office/drawing/2014/main" id="{13E4EBC6-6271-49A9-81A4-583CB074EB0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462552" y="3747163"/>
              <a:ext cx="55045" cy="57871"/>
            </a:xfrm>
            <a:prstGeom prst="ellipse">
              <a:avLst/>
            </a:prstGeom>
            <a:solidFill>
              <a:srgbClr val="496173"/>
            </a:solidFill>
            <a:ln>
              <a:noFill/>
            </a:ln>
            <a:effectLst/>
          </p:spPr>
          <p:txBody>
            <a:bodyPr wrap="square" lIns="108000" tIns="54000" rIns="36000" bIns="54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55" name="TextBox 453">
              <a:extLst>
                <a:ext uri="{FF2B5EF4-FFF2-40B4-BE49-F238E27FC236}">
                  <a16:creationId xmlns:a16="http://schemas.microsoft.com/office/drawing/2014/main" id="{8DCAD5C4-6912-45A3-8D1C-4E75AC932411}"/>
                </a:ext>
              </a:extLst>
            </p:cNvPr>
            <p:cNvSpPr txBox="1"/>
            <p:nvPr/>
          </p:nvSpPr>
          <p:spPr>
            <a:xfrm>
              <a:off x="8407961" y="3685050"/>
              <a:ext cx="478047" cy="1874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>
                  <a:solidFill>
                    <a:srgbClr val="496173"/>
                  </a:solidFill>
                </a:rPr>
                <a:t>DI 3</a:t>
              </a:r>
            </a:p>
          </p:txBody>
        </p:sp>
        <p:sp>
          <p:nvSpPr>
            <p:cNvPr id="256" name="TextBox 454">
              <a:extLst>
                <a:ext uri="{FF2B5EF4-FFF2-40B4-BE49-F238E27FC236}">
                  <a16:creationId xmlns:a16="http://schemas.microsoft.com/office/drawing/2014/main" id="{1EC32754-E8C7-4BE7-8FC0-26133149761B}"/>
                </a:ext>
              </a:extLst>
            </p:cNvPr>
            <p:cNvSpPr txBox="1"/>
            <p:nvPr/>
          </p:nvSpPr>
          <p:spPr>
            <a:xfrm>
              <a:off x="7530103" y="3687835"/>
              <a:ext cx="417829" cy="1874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>
                  <a:solidFill>
                    <a:srgbClr val="496173"/>
                  </a:solidFill>
                </a:rPr>
                <a:t>DO 3</a:t>
              </a:r>
            </a:p>
          </p:txBody>
        </p:sp>
        <p:sp>
          <p:nvSpPr>
            <p:cNvPr id="257" name="Oval 455">
              <a:extLst>
                <a:ext uri="{FF2B5EF4-FFF2-40B4-BE49-F238E27FC236}">
                  <a16:creationId xmlns:a16="http://schemas.microsoft.com/office/drawing/2014/main" id="{ED56DB00-8429-411C-A7C5-30A35F4C918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906003" y="3747163"/>
              <a:ext cx="55045" cy="57871"/>
            </a:xfrm>
            <a:prstGeom prst="ellipse">
              <a:avLst/>
            </a:prstGeom>
            <a:solidFill>
              <a:srgbClr val="496173"/>
            </a:solidFill>
            <a:ln>
              <a:noFill/>
            </a:ln>
            <a:effectLst/>
          </p:spPr>
          <p:txBody>
            <a:bodyPr wrap="square" lIns="108000" tIns="54000" rIns="36000" bIns="54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58" name="Oval 456">
              <a:extLst>
                <a:ext uri="{FF2B5EF4-FFF2-40B4-BE49-F238E27FC236}">
                  <a16:creationId xmlns:a16="http://schemas.microsoft.com/office/drawing/2014/main" id="{D6650105-7F35-4E66-AB10-D9DFE88DBC9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462552" y="4106708"/>
              <a:ext cx="55045" cy="57871"/>
            </a:xfrm>
            <a:prstGeom prst="ellipse">
              <a:avLst/>
            </a:prstGeom>
            <a:solidFill>
              <a:srgbClr val="496173"/>
            </a:solidFill>
            <a:ln>
              <a:noFill/>
            </a:ln>
            <a:effectLst/>
          </p:spPr>
          <p:txBody>
            <a:bodyPr wrap="square" lIns="108000" tIns="54000" rIns="36000" bIns="54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59" name="TextBox 457">
              <a:extLst>
                <a:ext uri="{FF2B5EF4-FFF2-40B4-BE49-F238E27FC236}">
                  <a16:creationId xmlns:a16="http://schemas.microsoft.com/office/drawing/2014/main" id="{C84E3E23-9161-453D-904B-B8893AE67457}"/>
                </a:ext>
              </a:extLst>
            </p:cNvPr>
            <p:cNvSpPr txBox="1"/>
            <p:nvPr/>
          </p:nvSpPr>
          <p:spPr>
            <a:xfrm>
              <a:off x="8407961" y="4044595"/>
              <a:ext cx="478047" cy="1874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>
                  <a:solidFill>
                    <a:srgbClr val="496173"/>
                  </a:solidFill>
                </a:rPr>
                <a:t>X 10</a:t>
              </a:r>
            </a:p>
          </p:txBody>
        </p:sp>
        <p:sp>
          <p:nvSpPr>
            <p:cNvPr id="260" name="TextBox 458">
              <a:extLst>
                <a:ext uri="{FF2B5EF4-FFF2-40B4-BE49-F238E27FC236}">
                  <a16:creationId xmlns:a16="http://schemas.microsoft.com/office/drawing/2014/main" id="{0BA1DBAC-E646-4C4D-99FF-BEDF3EA12C28}"/>
                </a:ext>
              </a:extLst>
            </p:cNvPr>
            <p:cNvSpPr txBox="1"/>
            <p:nvPr/>
          </p:nvSpPr>
          <p:spPr>
            <a:xfrm>
              <a:off x="7530103" y="4047380"/>
              <a:ext cx="534117" cy="1874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  <a:spcBef>
                  <a:spcPts val="0"/>
                </a:spcBef>
              </a:pPr>
              <a:r>
                <a:rPr lang="en-US" sz="1200">
                  <a:solidFill>
                    <a:srgbClr val="496173"/>
                  </a:solidFill>
                </a:rPr>
                <a:t>DO 10</a:t>
              </a:r>
            </a:p>
          </p:txBody>
        </p:sp>
        <p:sp>
          <p:nvSpPr>
            <p:cNvPr id="261" name="Oval 459">
              <a:extLst>
                <a:ext uri="{FF2B5EF4-FFF2-40B4-BE49-F238E27FC236}">
                  <a16:creationId xmlns:a16="http://schemas.microsoft.com/office/drawing/2014/main" id="{A979BB4D-D739-4956-B978-E8E4E471BCD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906003" y="4106708"/>
              <a:ext cx="55045" cy="57871"/>
            </a:xfrm>
            <a:prstGeom prst="ellipse">
              <a:avLst/>
            </a:prstGeom>
            <a:solidFill>
              <a:srgbClr val="496173"/>
            </a:solidFill>
            <a:ln>
              <a:noFill/>
            </a:ln>
            <a:effectLst/>
          </p:spPr>
          <p:txBody>
            <a:bodyPr wrap="square" lIns="108000" tIns="54000" rIns="36000" bIns="54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262" name="Straight Connector 24">
              <a:extLst>
                <a:ext uri="{FF2B5EF4-FFF2-40B4-BE49-F238E27FC236}">
                  <a16:creationId xmlns:a16="http://schemas.microsoft.com/office/drawing/2014/main" id="{788D03E7-5029-47D5-A707-D1F2D46E1261}"/>
                </a:ext>
              </a:extLst>
            </p:cNvPr>
            <p:cNvCxnSpPr/>
            <p:nvPr/>
          </p:nvCxnSpPr>
          <p:spPr bwMode="auto">
            <a:xfrm>
              <a:off x="7672762" y="3893547"/>
              <a:ext cx="0" cy="151048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rgbClr val="006487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3" name="Straight Connector 460">
              <a:extLst>
                <a:ext uri="{FF2B5EF4-FFF2-40B4-BE49-F238E27FC236}">
                  <a16:creationId xmlns:a16="http://schemas.microsoft.com/office/drawing/2014/main" id="{C937AA1E-5ADD-4AB1-8802-78ACE98D0503}"/>
                </a:ext>
              </a:extLst>
            </p:cNvPr>
            <p:cNvCxnSpPr/>
            <p:nvPr/>
          </p:nvCxnSpPr>
          <p:spPr bwMode="auto">
            <a:xfrm>
              <a:off x="8752882" y="3893547"/>
              <a:ext cx="0" cy="151048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rgbClr val="006487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aphicFrame>
        <p:nvGraphicFramePr>
          <p:cNvPr id="1048" name="Table 1047">
            <a:extLst>
              <a:ext uri="{FF2B5EF4-FFF2-40B4-BE49-F238E27FC236}">
                <a16:creationId xmlns:a16="http://schemas.microsoft.com/office/drawing/2014/main" id="{2B8F322D-9305-4662-A67E-916DED4AEB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6069010"/>
              </p:ext>
            </p:extLst>
          </p:nvPr>
        </p:nvGraphicFramePr>
        <p:xfrm>
          <a:off x="6160862" y="3498982"/>
          <a:ext cx="6034314" cy="30315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16270">
                  <a:extLst>
                    <a:ext uri="{9D8B030D-6E8A-4147-A177-3AD203B41FA5}">
                      <a16:colId xmlns:a16="http://schemas.microsoft.com/office/drawing/2014/main" val="3170791773"/>
                    </a:ext>
                  </a:extLst>
                </a:gridCol>
                <a:gridCol w="512967">
                  <a:extLst>
                    <a:ext uri="{9D8B030D-6E8A-4147-A177-3AD203B41FA5}">
                      <a16:colId xmlns:a16="http://schemas.microsoft.com/office/drawing/2014/main" val="2658217272"/>
                    </a:ext>
                  </a:extLst>
                </a:gridCol>
                <a:gridCol w="1336150">
                  <a:extLst>
                    <a:ext uri="{9D8B030D-6E8A-4147-A177-3AD203B41FA5}">
                      <a16:colId xmlns:a16="http://schemas.microsoft.com/office/drawing/2014/main" val="120143536"/>
                    </a:ext>
                  </a:extLst>
                </a:gridCol>
                <a:gridCol w="1225571">
                  <a:extLst>
                    <a:ext uri="{9D8B030D-6E8A-4147-A177-3AD203B41FA5}">
                      <a16:colId xmlns:a16="http://schemas.microsoft.com/office/drawing/2014/main" val="2892684224"/>
                    </a:ext>
                  </a:extLst>
                </a:gridCol>
                <a:gridCol w="743356">
                  <a:extLst>
                    <a:ext uri="{9D8B030D-6E8A-4147-A177-3AD203B41FA5}">
                      <a16:colId xmlns:a16="http://schemas.microsoft.com/office/drawing/2014/main" val="1330076115"/>
                    </a:ext>
                  </a:extLst>
                </a:gridCol>
              </a:tblGrid>
              <a:tr h="275592"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effectLst/>
                        </a:rPr>
                        <a:t>Description</a:t>
                      </a:r>
                      <a:endParaRPr lang="en-US" sz="12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effectLst/>
                        </a:rPr>
                        <a:t>Type</a:t>
                      </a:r>
                      <a:endParaRPr lang="en-US" sz="12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effectLst/>
                        </a:rPr>
                        <a:t>Signal</a:t>
                      </a:r>
                      <a:endParaRPr lang="en-US" sz="12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effectLst/>
                        </a:rPr>
                        <a:t>Unit</a:t>
                      </a:r>
                      <a:endParaRPr lang="en-US" sz="12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effectLst/>
                        </a:rPr>
                        <a:t>IO</a:t>
                      </a:r>
                      <a:endParaRPr lang="en-US" sz="12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1867135007"/>
                  </a:ext>
                </a:extLst>
              </a:tr>
              <a:tr h="275592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Outside air temp.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AI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Ni1000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°C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X1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1983129904"/>
                  </a:ext>
                </a:extLst>
              </a:tr>
              <a:tr h="275592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Supply air temp.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AI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Ni1000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°C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X2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429417030"/>
                  </a:ext>
                </a:extLst>
              </a:tr>
              <a:tr h="275592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Room air temp.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AI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Ni1000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°C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X3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197594482"/>
                  </a:ext>
                </a:extLst>
              </a:tr>
              <a:tr h="275592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Fire alarm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DI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N/O Volt free cont.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err="1">
                          <a:effectLst/>
                        </a:rPr>
                        <a:t>Normal,ALARM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X4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1971396053"/>
                  </a:ext>
                </a:extLst>
              </a:tr>
              <a:tr h="275592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Supply fan diff. pressure switch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DI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24VAC signal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No </a:t>
                      </a:r>
                      <a:r>
                        <a:rPr lang="en-US" sz="1200" err="1">
                          <a:effectLst/>
                        </a:rPr>
                        <a:t>Flow,Flow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D1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2100813414"/>
                  </a:ext>
                </a:extLst>
              </a:tr>
              <a:tr h="275592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Extract fan diff. pressure switch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DI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24VAC signal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No Flow,Flow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D2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1374253013"/>
                  </a:ext>
                </a:extLst>
              </a:tr>
              <a:tr h="275592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Supply fan command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DO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24V Relay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Off,On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Q1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1063843110"/>
                  </a:ext>
                </a:extLst>
              </a:tr>
              <a:tr h="275592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Extract fan command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DO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24V Relay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err="1">
                          <a:effectLst/>
                        </a:rPr>
                        <a:t>Off,On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Q2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3373718030"/>
                  </a:ext>
                </a:extLst>
              </a:tr>
              <a:tr h="275592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Cooling coil valve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AO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0-10V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% Open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X7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1133944065"/>
                  </a:ext>
                </a:extLst>
              </a:tr>
              <a:tr h="275592"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Heating coil valve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AO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0-10V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% Open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>
                          <a:effectLst/>
                        </a:rPr>
                        <a:t>X8</a:t>
                      </a:r>
                      <a:endParaRPr lang="en-US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050" marR="19050" marT="0" marB="0"/>
                </a:tc>
                <a:extLst>
                  <a:ext uri="{0D108BD9-81ED-4DB2-BD59-A6C34878D82A}">
                    <a16:rowId xmlns:a16="http://schemas.microsoft.com/office/drawing/2014/main" val="145794706"/>
                  </a:ext>
                </a:extLst>
              </a:tr>
            </a:tbl>
          </a:graphicData>
        </a:graphic>
      </p:graphicFrame>
      <p:sp>
        <p:nvSpPr>
          <p:cNvPr id="1055" name="TextBox 1054">
            <a:extLst>
              <a:ext uri="{FF2B5EF4-FFF2-40B4-BE49-F238E27FC236}">
                <a16:creationId xmlns:a16="http://schemas.microsoft.com/office/drawing/2014/main" id="{D1F0EFEE-BAFA-4471-ACCB-A6F7E1FCE945}"/>
              </a:ext>
            </a:extLst>
          </p:cNvPr>
          <p:cNvSpPr txBox="1"/>
          <p:nvPr/>
        </p:nvSpPr>
        <p:spPr>
          <a:xfrm>
            <a:off x="10460881" y="1739453"/>
            <a:ext cx="960120" cy="3905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>
                <a:solidFill>
                  <a:schemeClr val="tx1"/>
                </a:solidFill>
              </a:rPr>
              <a:t>Temperature Control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6CF84B83-B4EF-4DD0-ADC9-8BEE9CF575A3}"/>
              </a:ext>
            </a:extLst>
          </p:cNvPr>
          <p:cNvSpPr txBox="1"/>
          <p:nvPr/>
        </p:nvSpPr>
        <p:spPr>
          <a:xfrm>
            <a:off x="9486271" y="1059582"/>
            <a:ext cx="960120" cy="3905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>
                <a:solidFill>
                  <a:schemeClr val="tx1"/>
                </a:solidFill>
              </a:rPr>
              <a:t>Fan</a:t>
            </a:r>
            <a:br>
              <a:rPr lang="en-US" sz="1200">
                <a:solidFill>
                  <a:schemeClr val="tx1"/>
                </a:solidFill>
              </a:rPr>
            </a:br>
            <a:r>
              <a:rPr lang="en-US" sz="1200">
                <a:solidFill>
                  <a:schemeClr val="tx1"/>
                </a:solidFill>
              </a:rPr>
              <a:t>Control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DBCE9F3F-0485-4094-AD9D-31B03C4A0045}"/>
              </a:ext>
            </a:extLst>
          </p:cNvPr>
          <p:cNvSpPr txBox="1"/>
          <p:nvPr/>
        </p:nvSpPr>
        <p:spPr>
          <a:xfrm>
            <a:off x="8428136" y="1713269"/>
            <a:ext cx="996546" cy="187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>
                <a:solidFill>
                  <a:schemeClr val="tx1"/>
                </a:solidFill>
              </a:rPr>
              <a:t>Plant Control</a:t>
            </a:r>
          </a:p>
        </p:txBody>
      </p:sp>
      <p:sp>
        <p:nvSpPr>
          <p:cNvPr id="274" name="Rectangle 273">
            <a:hlinkClick r:id="" action="ppaction://noaction"/>
            <a:extLst>
              <a:ext uri="{FF2B5EF4-FFF2-40B4-BE49-F238E27FC236}">
                <a16:creationId xmlns:a16="http://schemas.microsoft.com/office/drawing/2014/main" id="{01B8BC2B-0A1D-4661-8080-F78B5F8B107C}"/>
              </a:ext>
            </a:extLst>
          </p:cNvPr>
          <p:cNvSpPr/>
          <p:nvPr/>
        </p:nvSpPr>
        <p:spPr bwMode="auto">
          <a:xfrm>
            <a:off x="12300" y="2425369"/>
            <a:ext cx="2147700" cy="218379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  <a:effectLst/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75" name="Textfeld 337">
            <a:extLst>
              <a:ext uri="{FF2B5EF4-FFF2-40B4-BE49-F238E27FC236}">
                <a16:creationId xmlns:a16="http://schemas.microsoft.com/office/drawing/2014/main" id="{9D9306A2-198A-4206-ADEE-26216095E6B4}"/>
              </a:ext>
            </a:extLst>
          </p:cNvPr>
          <p:cNvSpPr txBox="1"/>
          <p:nvPr/>
        </p:nvSpPr>
        <p:spPr>
          <a:xfrm>
            <a:off x="-1" y="2932806"/>
            <a:ext cx="2160000" cy="222249"/>
          </a:xfrm>
          <a:prstGeom prst="rect">
            <a:avLst/>
          </a:prstGeom>
          <a:solidFill>
            <a:srgbClr val="0080B6"/>
          </a:solidFill>
        </p:spPr>
        <p:txBody>
          <a:bodyPr wrap="square" lIns="54000" tIns="0" rIns="0" bIns="0" rtlCol="0" anchor="ctr" anchorCtr="0">
            <a:noAutofit/>
          </a:bodyPr>
          <a:lstStyle>
            <a:defPPr>
              <a:defRPr lang="de-DE"/>
            </a:defPPr>
            <a:lvl1pPr algn="l">
              <a:lnSpc>
                <a:spcPct val="110000"/>
              </a:lnSpc>
              <a:spcBef>
                <a:spcPts val="0"/>
              </a:spcBef>
              <a:defRPr sz="1100" b="1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r>
              <a:rPr lang="en-US" u="none" strike="noStrike" kern="1200">
                <a:effectLst/>
                <a:latin typeface="+mj-lt"/>
                <a:ea typeface="+mn-ea"/>
              </a:rPr>
              <a:t>HVAC control</a:t>
            </a:r>
            <a:endParaRPr lang="en-US" sz="1100" u="none" strike="noStrike" kern="1200">
              <a:effectLst/>
              <a:latin typeface="+mj-lt"/>
              <a:ea typeface="+mn-ea"/>
            </a:endParaRPr>
          </a:p>
        </p:txBody>
      </p:sp>
      <p:pic>
        <p:nvPicPr>
          <p:cNvPr id="276" name="Picture 275" descr="A close-up of a server&#10;&#10;Description automatically generated with low confidence">
            <a:extLst>
              <a:ext uri="{FF2B5EF4-FFF2-40B4-BE49-F238E27FC236}">
                <a16:creationId xmlns:a16="http://schemas.microsoft.com/office/drawing/2014/main" id="{2F99B504-38C4-40EE-9077-41824EAFAE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908907" y="-197299"/>
            <a:ext cx="1229595" cy="666383"/>
          </a:xfrm>
          <a:prstGeom prst="rect">
            <a:avLst/>
          </a:prstGeom>
        </p:spPr>
      </p:pic>
      <p:sp>
        <p:nvSpPr>
          <p:cNvPr id="129" name="Oval 128">
            <a:extLst>
              <a:ext uri="{FF2B5EF4-FFF2-40B4-BE49-F238E27FC236}">
                <a16:creationId xmlns:a16="http://schemas.microsoft.com/office/drawing/2014/main" id="{EEBFC678-4642-4482-A5E4-15B4F919CC01}"/>
              </a:ext>
            </a:extLst>
          </p:cNvPr>
          <p:cNvSpPr/>
          <p:nvPr/>
        </p:nvSpPr>
        <p:spPr bwMode="auto">
          <a:xfrm>
            <a:off x="7503904" y="2461643"/>
            <a:ext cx="409889" cy="409889"/>
          </a:xfrm>
          <a:prstGeom prst="ellipse">
            <a:avLst/>
          </a:prstGeom>
          <a:solidFill>
            <a:schemeClr val="bg1"/>
          </a:solidFill>
          <a:ln w="38100">
            <a:solidFill>
              <a:srgbClr val="4A6274"/>
            </a:solidFill>
          </a:ln>
          <a:effectLst/>
        </p:spPr>
        <p:txBody>
          <a:bodyPr wrap="square" lIns="0" tIns="0" rIns="0" bIns="0" numCol="1" spcCol="72000" rtlCol="0" anchor="ctr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b="1">
                <a:solidFill>
                  <a:schemeClr val="tx1"/>
                </a:solidFill>
              </a:rPr>
              <a:t>T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8D5EEAE2-FF34-41E1-891F-552DFA00C85E}"/>
              </a:ext>
            </a:extLst>
          </p:cNvPr>
          <p:cNvCxnSpPr>
            <a:cxnSpLocks/>
          </p:cNvCxnSpPr>
          <p:nvPr/>
        </p:nvCxnSpPr>
        <p:spPr bwMode="auto">
          <a:xfrm>
            <a:off x="7708736" y="2301159"/>
            <a:ext cx="113" cy="160484"/>
          </a:xfrm>
          <a:prstGeom prst="line">
            <a:avLst/>
          </a:prstGeom>
          <a:solidFill>
            <a:schemeClr val="bg1"/>
          </a:solidFill>
          <a:ln w="25400">
            <a:solidFill>
              <a:schemeClr val="bg2">
                <a:lumMod val="50000"/>
              </a:schemeClr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1852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/>
            </a:br>
            <a:endParaRPr lang="en-US" noProof="0"/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AFAE7150-A105-4283-B6C3-5A51A3BD57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96260" y="680763"/>
            <a:ext cx="3705718" cy="5814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b="1" kern="0"/>
              <a:t>Automation objects </a:t>
            </a:r>
            <a:r>
              <a:rPr lang="en-US" altLang="en-US" sz="1600" kern="0"/>
              <a:t>represent physical and software process values of a system within a controller (e.g. temperature, switch, actuator, setpoint </a:t>
            </a:r>
            <a:r>
              <a:rPr lang="en-US" altLang="en-US" sz="1600" kern="0" err="1"/>
              <a:t>etc</a:t>
            </a:r>
            <a:r>
              <a:rPr lang="en-US" altLang="en-US" sz="1600" kern="0"/>
              <a:t>) 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kern="0"/>
              <a:t>Supported </a:t>
            </a:r>
            <a:r>
              <a:rPr lang="en-US" altLang="en-US" sz="1600" b="1" kern="0"/>
              <a:t>function types </a:t>
            </a:r>
            <a:r>
              <a:rPr lang="en-US" altLang="en-US" sz="1600" kern="0"/>
              <a:t>include:</a:t>
            </a:r>
          </a:p>
          <a:p>
            <a:pPr lvl="3">
              <a:buFontTx/>
              <a:buChar char="-"/>
            </a:pPr>
            <a:r>
              <a:rPr lang="en-US" altLang="en-US" sz="1600" kern="0"/>
              <a:t>Binary input, output, value</a:t>
            </a:r>
          </a:p>
          <a:p>
            <a:pPr lvl="3">
              <a:buFontTx/>
              <a:buChar char="-"/>
            </a:pPr>
            <a:r>
              <a:rPr lang="en-US" altLang="en-US" sz="1600" kern="0"/>
              <a:t>Analog input, output, value</a:t>
            </a:r>
          </a:p>
          <a:p>
            <a:pPr lvl="3">
              <a:buFontTx/>
              <a:buChar char="-"/>
            </a:pPr>
            <a:r>
              <a:rPr lang="en-US" altLang="en-US" sz="1600" kern="0"/>
              <a:t>Multistate input, output, value</a:t>
            </a:r>
          </a:p>
          <a:p>
            <a:pPr lvl="2">
              <a:buFont typeface="Wingdings" panose="05000000000000000000" pitchFamily="2" charset="2"/>
              <a:buChar char="§"/>
            </a:pPr>
            <a:endParaRPr lang="en-US" altLang="en-US" sz="1600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kern="0"/>
              <a:t>Automation objects have internal </a:t>
            </a:r>
            <a:r>
              <a:rPr lang="en-US" altLang="en-US" sz="1600" b="1" kern="0"/>
              <a:t>functionality</a:t>
            </a:r>
            <a:r>
              <a:rPr lang="en-US" altLang="en-US" sz="1600" kern="0"/>
              <a:t> that can be configured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kern="0"/>
              <a:t>They make data available to clients (e.g. SCOPE, BACnet clients). Data is stored to flash memory during power off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kern="0"/>
              <a:t>In Climatix, most Automation objects are based on the </a:t>
            </a:r>
            <a:r>
              <a:rPr lang="en-US" altLang="en-US" sz="1600" b="1" kern="0"/>
              <a:t>BACnet</a:t>
            </a:r>
            <a:r>
              <a:rPr lang="en-US" altLang="en-US" sz="1600" kern="0"/>
              <a:t> standard. </a:t>
            </a:r>
          </a:p>
          <a:p>
            <a:pPr marL="1588" lvl="1" indent="0">
              <a:buNone/>
            </a:pPr>
            <a:endParaRPr lang="en-US" altLang="en-US" sz="1600" kern="0"/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2BB6083-29B0-4D20-BE91-427A1D91E6D6}"/>
              </a:ext>
            </a:extLst>
          </p:cNvPr>
          <p:cNvGrpSpPr/>
          <p:nvPr/>
        </p:nvGrpSpPr>
        <p:grpSpPr>
          <a:xfrm>
            <a:off x="2451340" y="4489653"/>
            <a:ext cx="3464520" cy="2005159"/>
            <a:chOff x="2279056" y="3988374"/>
            <a:chExt cx="3464520" cy="2005159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4B12527-125E-42D4-9E91-AD86F6DD68DF}"/>
                </a:ext>
              </a:extLst>
            </p:cNvPr>
            <p:cNvSpPr/>
            <p:nvPr/>
          </p:nvSpPr>
          <p:spPr bwMode="auto">
            <a:xfrm>
              <a:off x="2279056" y="3988374"/>
              <a:ext cx="3464520" cy="2005159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wrap="square" lIns="108000" tIns="54000" rIns="36000" bIns="54000" numCol="1" spcCol="72000" rtlCol="0" anchor="ctr">
              <a:no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endParaRPr lang="de-CH">
                <a:solidFill>
                  <a:schemeClr val="bg1"/>
                </a:solidFill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5024F8A-0004-4209-BC86-5F8F5CC7CC8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74449" y="3995758"/>
              <a:ext cx="1701608" cy="928150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265C3DF-1A98-4083-8E80-7171C4BB29A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79056" y="3988375"/>
              <a:ext cx="1701608" cy="912351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3CB22C68-FE45-41F5-BE1E-10040D0A85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85233" y="4954286"/>
              <a:ext cx="1689215" cy="1021683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10E1630A-EB2F-4136-864D-44AF840B977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983723" y="4954286"/>
              <a:ext cx="1698563" cy="59269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351C22B-8A04-476B-A645-B6AA3B1562A2}"/>
              </a:ext>
            </a:extLst>
          </p:cNvPr>
          <p:cNvGrpSpPr/>
          <p:nvPr/>
        </p:nvGrpSpPr>
        <p:grpSpPr>
          <a:xfrm>
            <a:off x="5744566" y="589557"/>
            <a:ext cx="2147976" cy="5739143"/>
            <a:chOff x="1816833" y="1017329"/>
            <a:chExt cx="2147976" cy="5739143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6A72BC7-D954-4133-A27C-2ECD69AFFFD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159803" y="4088790"/>
              <a:ext cx="1495966" cy="2667682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6AE9BB69-6A04-41B5-874C-62D51E65181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164079" y="1297857"/>
              <a:ext cx="1364473" cy="2708375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7FE48B2-C0F7-4D9F-98EF-81A75FA09859}"/>
                </a:ext>
              </a:extLst>
            </p:cNvPr>
            <p:cNvSpPr txBox="1"/>
            <p:nvPr/>
          </p:nvSpPr>
          <p:spPr>
            <a:xfrm>
              <a:off x="1816833" y="1017329"/>
              <a:ext cx="2147976" cy="1979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CH" sz="1000" b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APRO – Automation </a:t>
              </a:r>
              <a:r>
                <a:rPr lang="de-CH" sz="1000" b="1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object</a:t>
              </a:r>
              <a:r>
                <a:rPr lang="de-CH" sz="1000" b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de-CH" sz="1000" b="1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library</a:t>
              </a:r>
              <a:endParaRPr lang="en-GB" sz="10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69F595A-F3B3-44C8-8CB5-09DCCC9DE011}"/>
              </a:ext>
            </a:extLst>
          </p:cNvPr>
          <p:cNvGrpSpPr/>
          <p:nvPr/>
        </p:nvGrpSpPr>
        <p:grpSpPr>
          <a:xfrm>
            <a:off x="2446550" y="694334"/>
            <a:ext cx="2930072" cy="3110492"/>
            <a:chOff x="2247606" y="692538"/>
            <a:chExt cx="2930072" cy="31104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9F878112-B4AE-4FC7-A337-BDF4F2CB1E9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47606" y="862670"/>
              <a:ext cx="2930072" cy="1365810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011E279-5121-4EBE-A479-7A5B8677FC71}"/>
                </a:ext>
              </a:extLst>
            </p:cNvPr>
            <p:cNvSpPr txBox="1"/>
            <p:nvPr/>
          </p:nvSpPr>
          <p:spPr>
            <a:xfrm>
              <a:off x="2866770" y="692538"/>
              <a:ext cx="1691747" cy="1979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CH" sz="1000" b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Air </a:t>
              </a:r>
              <a:r>
                <a:rPr lang="de-CH" sz="1000" b="1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handling</a:t>
              </a:r>
              <a:r>
                <a:rPr lang="de-CH" sz="1000" b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de-CH" sz="1000" b="1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unit</a:t>
              </a:r>
              <a:r>
                <a:rPr lang="de-CH" sz="1000" b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(AHU)</a:t>
              </a:r>
              <a:endParaRPr lang="en-GB" sz="10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pic>
          <p:nvPicPr>
            <p:cNvPr id="29" name="Picture 9">
              <a:extLst>
                <a:ext uri="{FF2B5EF4-FFF2-40B4-BE49-F238E27FC236}">
                  <a16:creationId xmlns:a16="http://schemas.microsoft.com/office/drawing/2014/main" id="{D15F0D49-3D14-4166-AD23-C49B4C83C3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 rot="10800000">
              <a:off x="2731927" y="2682636"/>
              <a:ext cx="2157796" cy="11203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828C6FA-12B2-48A8-8264-D6CDE4CA0FFC}"/>
                </a:ext>
              </a:extLst>
            </p:cNvPr>
            <p:cNvSpPr txBox="1"/>
            <p:nvPr/>
          </p:nvSpPr>
          <p:spPr>
            <a:xfrm>
              <a:off x="2655370" y="2454288"/>
              <a:ext cx="2310910" cy="1979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CH" sz="1000" b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Refrigeration </a:t>
              </a:r>
              <a:r>
                <a:rPr lang="de-CH" sz="1000" b="1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machine</a:t>
              </a:r>
              <a:r>
                <a:rPr lang="de-CH" sz="1000" b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(</a:t>
              </a:r>
              <a:r>
                <a:rPr lang="de-CH" sz="1000" b="1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e.g</a:t>
              </a:r>
              <a:r>
                <a:rPr lang="de-CH" sz="1000" b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de-CH" sz="1000" b="1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hiller</a:t>
              </a:r>
              <a:r>
                <a:rPr lang="de-CH" sz="1000" b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)</a:t>
              </a:r>
              <a:endParaRPr lang="en-GB" sz="10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47" name="cdtText Box 4 Id114692">
            <a:extLst>
              <a:ext uri="{FF2B5EF4-FFF2-40B4-BE49-F238E27FC236}">
                <a16:creationId xmlns:a16="http://schemas.microsoft.com/office/drawing/2014/main" id="{280AB5EB-1010-4300-AABD-DD8BF9A2B90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159999" y="1084"/>
            <a:ext cx="10035175" cy="468000"/>
          </a:xfrm>
          <a:prstGeom prst="rect">
            <a:avLst/>
          </a:prstGeom>
          <a:gradFill>
            <a:gsLst>
              <a:gs pos="58000">
                <a:srgbClr val="00315F"/>
              </a:gs>
              <a:gs pos="6000">
                <a:srgbClr val="00022B"/>
              </a:gs>
              <a:gs pos="100000">
                <a:srgbClr val="0080B6"/>
              </a:gs>
            </a:gsLst>
            <a:lin ang="0" scaled="0"/>
          </a:gradFill>
          <a:ln>
            <a:noFill/>
          </a:ln>
          <a:effectLst/>
        </p:spPr>
        <p:txBody>
          <a:bodyPr wrap="square" lIns="143963" tIns="143963" rIns="143963" bIns="143963" numCol="1" spcCol="72000" rtlCol="0" anchor="ctr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</a:rPr>
              <a:t>Automation Objects overview</a:t>
            </a:r>
          </a:p>
        </p:txBody>
      </p:sp>
      <p:sp>
        <p:nvSpPr>
          <p:cNvPr id="49" name="Textfeld 337">
            <a:extLst>
              <a:ext uri="{FF2B5EF4-FFF2-40B4-BE49-F238E27FC236}">
                <a16:creationId xmlns:a16="http://schemas.microsoft.com/office/drawing/2014/main" id="{FAF19FD7-1936-43A3-8E21-34F5A3AC1EB7}"/>
              </a:ext>
            </a:extLst>
          </p:cNvPr>
          <p:cNvSpPr txBox="1"/>
          <p:nvPr/>
        </p:nvSpPr>
        <p:spPr>
          <a:xfrm>
            <a:off x="7619" y="3177640"/>
            <a:ext cx="2160000" cy="222249"/>
          </a:xfrm>
          <a:prstGeom prst="rect">
            <a:avLst/>
          </a:prstGeom>
          <a:solidFill>
            <a:srgbClr val="0080B6"/>
          </a:solidFill>
        </p:spPr>
        <p:txBody>
          <a:bodyPr wrap="square" lIns="54000" tIns="0" rIns="0" bIns="0" rtlCol="0" anchor="ctr" anchorCtr="0">
            <a:noAutofit/>
          </a:bodyPr>
          <a:lstStyle>
            <a:defPPr>
              <a:defRPr lang="de-DE"/>
            </a:defPPr>
            <a:lvl1pPr algn="l">
              <a:lnSpc>
                <a:spcPct val="110000"/>
              </a:lnSpc>
              <a:spcBef>
                <a:spcPts val="0"/>
              </a:spcBef>
              <a:defRPr sz="1100" b="1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r>
              <a:rPr lang="en-US" sz="1100" b="0">
                <a:latin typeface="+mj-lt"/>
              </a:rPr>
              <a:t>– </a:t>
            </a:r>
            <a:r>
              <a:rPr lang="en-US" b="0" kern="1200">
                <a:latin typeface="+mj-lt"/>
                <a:ea typeface="+mn-ea"/>
              </a:rPr>
              <a:t>Automation objects</a:t>
            </a:r>
            <a:endParaRPr lang="en-US" sz="1100" b="0" u="none" strike="noStrike" kern="1200">
              <a:effectLst/>
              <a:latin typeface="+mj-lt"/>
              <a:ea typeface="+mn-ea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87C0937-C7B6-437C-B4E4-6733F094EE98}"/>
              </a:ext>
            </a:extLst>
          </p:cNvPr>
          <p:cNvGrpSpPr/>
          <p:nvPr/>
        </p:nvGrpSpPr>
        <p:grpSpPr>
          <a:xfrm>
            <a:off x="4341773" y="6971158"/>
            <a:ext cx="1493788" cy="979131"/>
            <a:chOff x="7352726" y="3430360"/>
            <a:chExt cx="1493788" cy="97913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D2EE257-A97C-4057-94CC-98C0E9722EF9}"/>
                </a:ext>
              </a:extLst>
            </p:cNvPr>
            <p:cNvGrpSpPr/>
            <p:nvPr/>
          </p:nvGrpSpPr>
          <p:grpSpPr>
            <a:xfrm>
              <a:off x="7352726" y="3430360"/>
              <a:ext cx="1430530" cy="979131"/>
              <a:chOff x="7630013" y="3553189"/>
              <a:chExt cx="1127095" cy="771444"/>
            </a:xfrm>
          </p:grpSpPr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8FCB56B1-BDD1-4578-8548-22EA57EA9420}"/>
                  </a:ext>
                </a:extLst>
              </p:cNvPr>
              <p:cNvGrpSpPr/>
              <p:nvPr/>
            </p:nvGrpSpPr>
            <p:grpSpPr>
              <a:xfrm>
                <a:off x="7630013" y="3553189"/>
                <a:ext cx="1127095" cy="769570"/>
                <a:chOff x="7630013" y="4909680"/>
                <a:chExt cx="1127095" cy="769570"/>
              </a:xfrm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3F1FD698-9B61-494E-A3BE-326853C7E6A0}"/>
                    </a:ext>
                  </a:extLst>
                </p:cNvPr>
                <p:cNvSpPr/>
                <p:nvPr/>
              </p:nvSpPr>
              <p:spPr bwMode="auto">
                <a:xfrm>
                  <a:off x="7658107" y="4911489"/>
                  <a:ext cx="1070640" cy="767761"/>
                </a:xfrm>
                <a:prstGeom prst="rect">
                  <a:avLst/>
                </a:prstGeom>
                <a:solidFill>
                  <a:schemeClr val="bg2">
                    <a:lumMod val="60000"/>
                    <a:lumOff val="40000"/>
                  </a:schemeClr>
                </a:solidFill>
                <a:ln>
                  <a:noFill/>
                </a:ln>
                <a:effectLst>
                  <a:outerShdw blurRad="63500" dist="38099" dir="2700000" algn="ctr" rotWithShape="0">
                    <a:schemeClr val="accent2">
                      <a:lumMod val="50000"/>
                      <a:alpha val="75000"/>
                    </a:schemeClr>
                  </a:outerShdw>
                </a:effectLst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108000" tIns="54000" rIns="36000" bIns="54000" numCol="1" spcCol="72000" rtlCol="0" anchor="ctr">
                  <a:noAutofit/>
                </a:bodyPr>
                <a:lstStyle/>
                <a:p>
                  <a:pPr algn="l">
                    <a:lnSpc>
                      <a:spcPct val="110000"/>
                    </a:lnSpc>
                    <a:spcBef>
                      <a:spcPct val="0"/>
                    </a:spcBef>
                  </a:pPr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6" name="Oval 35">
                  <a:extLst>
                    <a:ext uri="{FF2B5EF4-FFF2-40B4-BE49-F238E27FC236}">
                      <a16:creationId xmlns:a16="http://schemas.microsoft.com/office/drawing/2014/main" id="{AC938EC3-4BB5-4FC3-929D-47653E78DF5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7630013" y="5291432"/>
                  <a:ext cx="55045" cy="57871"/>
                </a:xfrm>
                <a:prstGeom prst="ellipse">
                  <a:avLst/>
                </a:pr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  <a:effectLst/>
              </p:spPr>
              <p:txBody>
                <a:bodyPr wrap="square" lIns="108000" tIns="54000" rIns="36000" bIns="54000" numCol="1" spcCol="72000" rtlCol="0" anchor="ctr">
                  <a:noAutofit/>
                </a:bodyPr>
                <a:lstStyle/>
                <a:p>
                  <a:pPr algn="l">
                    <a:lnSpc>
                      <a:spcPct val="110000"/>
                    </a:lnSpc>
                    <a:spcBef>
                      <a:spcPct val="0"/>
                    </a:spcBef>
                  </a:pPr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7" name="Oval 36">
                  <a:extLst>
                    <a:ext uri="{FF2B5EF4-FFF2-40B4-BE49-F238E27FC236}">
                      <a16:creationId xmlns:a16="http://schemas.microsoft.com/office/drawing/2014/main" id="{F2CD2873-84A5-40DE-82DD-9F1CEB247CF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7630013" y="5528902"/>
                  <a:ext cx="55045" cy="57871"/>
                </a:xfrm>
                <a:prstGeom prst="ellipse">
                  <a:avLst/>
                </a:pr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  <a:effectLst/>
              </p:spPr>
              <p:txBody>
                <a:bodyPr wrap="square" lIns="108000" tIns="54000" rIns="36000" bIns="54000" numCol="1" spcCol="72000" rtlCol="0" anchor="ctr">
                  <a:noAutofit/>
                </a:bodyPr>
                <a:lstStyle/>
                <a:p>
                  <a:pPr algn="l">
                    <a:lnSpc>
                      <a:spcPct val="110000"/>
                    </a:lnSpc>
                    <a:spcBef>
                      <a:spcPct val="0"/>
                    </a:spcBef>
                  </a:pPr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8" name="Oval 37">
                  <a:extLst>
                    <a:ext uri="{FF2B5EF4-FFF2-40B4-BE49-F238E27FC236}">
                      <a16:creationId xmlns:a16="http://schemas.microsoft.com/office/drawing/2014/main" id="{337D7776-8193-4B3F-8F68-BB12D419FF6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8702063" y="5276902"/>
                  <a:ext cx="55045" cy="57871"/>
                </a:xfrm>
                <a:prstGeom prst="ellipse">
                  <a:avLst/>
                </a:pr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  <a:effectLst/>
              </p:spPr>
              <p:txBody>
                <a:bodyPr wrap="square" lIns="108000" tIns="54000" rIns="36000" bIns="54000" numCol="1" spcCol="72000" rtlCol="0" anchor="ctr">
                  <a:noAutofit/>
                </a:bodyPr>
                <a:lstStyle/>
                <a:p>
                  <a:pPr algn="l">
                    <a:lnSpc>
                      <a:spcPct val="110000"/>
                    </a:lnSpc>
                    <a:spcBef>
                      <a:spcPct val="0"/>
                    </a:spcBef>
                  </a:pPr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9" name="TextBox 38">
                  <a:extLst>
                    <a:ext uri="{FF2B5EF4-FFF2-40B4-BE49-F238E27FC236}">
                      <a16:creationId xmlns:a16="http://schemas.microsoft.com/office/drawing/2014/main" id="{20AF89A9-275F-41EB-850E-A7FEE2168A31}"/>
                    </a:ext>
                  </a:extLst>
                </p:cNvPr>
                <p:cNvSpPr txBox="1"/>
                <p:nvPr/>
              </p:nvSpPr>
              <p:spPr>
                <a:xfrm>
                  <a:off x="8178022" y="5204861"/>
                  <a:ext cx="503423" cy="18742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r">
                    <a:lnSpc>
                      <a:spcPct val="110000"/>
                    </a:lnSpc>
                    <a:spcBef>
                      <a:spcPts val="0"/>
                    </a:spcBef>
                  </a:pPr>
                  <a:r>
                    <a:rPr lang="en-US" sz="1200">
                      <a:solidFill>
                        <a:schemeClr val="accent5">
                          <a:lumMod val="75000"/>
                        </a:schemeClr>
                      </a:solidFill>
                    </a:rPr>
                    <a:t>Of’</a:t>
                  </a:r>
                </a:p>
              </p:txBody>
            </p:sp>
            <p:sp>
              <p:nvSpPr>
                <p:cNvPr id="40" name="TextBox 39">
                  <a:extLst>
                    <a:ext uri="{FF2B5EF4-FFF2-40B4-BE49-F238E27FC236}">
                      <a16:creationId xmlns:a16="http://schemas.microsoft.com/office/drawing/2014/main" id="{F09807B8-3FDF-4737-8394-FAE1C993F709}"/>
                    </a:ext>
                  </a:extLst>
                </p:cNvPr>
                <p:cNvSpPr txBox="1"/>
                <p:nvPr/>
              </p:nvSpPr>
              <p:spPr>
                <a:xfrm>
                  <a:off x="7697565" y="5209244"/>
                  <a:ext cx="336029" cy="18742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>
                    <a:lnSpc>
                      <a:spcPct val="110000"/>
                    </a:lnSpc>
                    <a:spcBef>
                      <a:spcPts val="0"/>
                    </a:spcBef>
                  </a:pPr>
                  <a:r>
                    <a:rPr lang="en-US" sz="1200">
                      <a:solidFill>
                        <a:schemeClr val="accent5">
                          <a:lumMod val="75000"/>
                        </a:schemeClr>
                      </a:solidFill>
                    </a:rPr>
                    <a:t>IN d’</a:t>
                  </a:r>
                </a:p>
              </p:txBody>
            </p:sp>
            <p:sp>
              <p:nvSpPr>
                <p:cNvPr id="41" name="TextBox 40">
                  <a:extLst>
                    <a:ext uri="{FF2B5EF4-FFF2-40B4-BE49-F238E27FC236}">
                      <a16:creationId xmlns:a16="http://schemas.microsoft.com/office/drawing/2014/main" id="{DF40E61D-962C-43F5-A218-6242CCCD2993}"/>
                    </a:ext>
                  </a:extLst>
                </p:cNvPr>
                <p:cNvSpPr txBox="1"/>
                <p:nvPr/>
              </p:nvSpPr>
              <p:spPr>
                <a:xfrm>
                  <a:off x="7697565" y="5447139"/>
                  <a:ext cx="356366" cy="18742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>
                    <a:lnSpc>
                      <a:spcPct val="110000"/>
                    </a:lnSpc>
                    <a:spcBef>
                      <a:spcPts val="0"/>
                    </a:spcBef>
                  </a:pPr>
                  <a:r>
                    <a:rPr lang="en-US" sz="1200">
                      <a:solidFill>
                        <a:schemeClr val="accent5">
                          <a:lumMod val="75000"/>
                        </a:schemeClr>
                      </a:solidFill>
                    </a:rPr>
                    <a:t>IN e’</a:t>
                  </a:r>
                </a:p>
              </p:txBody>
            </p:sp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C5CC7937-FDE2-4530-9819-4DAB7C35A471}"/>
                    </a:ext>
                  </a:extLst>
                </p:cNvPr>
                <p:cNvSpPr/>
                <p:nvPr/>
              </p:nvSpPr>
              <p:spPr bwMode="auto">
                <a:xfrm>
                  <a:off x="7663095" y="4909680"/>
                  <a:ext cx="1070640" cy="241475"/>
                </a:xfrm>
                <a:prstGeom prst="rect">
                  <a:avLst/>
                </a:prstGeom>
                <a:solidFill>
                  <a:srgbClr val="FBC999"/>
                </a:solidFill>
                <a:ln>
                  <a:noFill/>
                </a:ln>
                <a:effectLst>
                  <a:outerShdw blurRad="63500" dist="38099" dir="2700000" algn="ctr" rotWithShape="0">
                    <a:schemeClr val="accent2">
                      <a:lumMod val="50000"/>
                      <a:alpha val="75000"/>
                    </a:schemeClr>
                  </a:outerShdw>
                </a:effectLst>
              </p:spPr>
              <p:txBody>
                <a:bodyPr wrap="square" lIns="36000" tIns="36000" rIns="0" bIns="36000" numCol="1" spcCol="72000" rtlCol="0" anchor="ctr">
                  <a:noAutofit/>
                </a:bodyPr>
                <a:lstStyle/>
                <a:p>
                  <a:pPr algn="l">
                    <a:lnSpc>
                      <a:spcPct val="110000"/>
                    </a:lnSpc>
                    <a:spcBef>
                      <a:spcPts val="0"/>
                    </a:spcBef>
                  </a:pPr>
                  <a:r>
                    <a:rPr lang="en-US" sz="1400">
                      <a:solidFill>
                        <a:schemeClr val="accent5">
                          <a:lumMod val="75000"/>
                        </a:schemeClr>
                      </a:solidFill>
                    </a:rPr>
                    <a:t>FB ‘Y’ - copy</a:t>
                  </a:r>
                </a:p>
              </p:txBody>
            </p:sp>
          </p:grp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ED890EFA-4221-42E3-9001-78BF316122C4}"/>
                  </a:ext>
                </a:extLst>
              </p:cNvPr>
              <p:cNvSpPr/>
              <p:nvPr/>
            </p:nvSpPr>
            <p:spPr bwMode="auto">
              <a:xfrm>
                <a:off x="7658107" y="3556872"/>
                <a:ext cx="1070640" cy="767761"/>
              </a:xfrm>
              <a:prstGeom prst="rect">
                <a:avLst/>
              </a:prstGeom>
              <a:solidFill>
                <a:srgbClr val="F6FDB1"/>
              </a:solidFill>
              <a:ln>
                <a:noFill/>
              </a:ln>
              <a:effectLst>
                <a:outerShdw blurRad="63500" dist="38099" dir="2700000" algn="ctr" rotWithShape="0">
                  <a:schemeClr val="accent2">
                    <a:lumMod val="50000"/>
                    <a:alpha val="75000"/>
                  </a:schemeClr>
                </a:outerShdw>
              </a:effectLst>
            </p:spPr>
            <p:txBody>
              <a:bodyPr wrap="square" lIns="108000" tIns="54000" rIns="36000" bIns="54000" numCol="1" spcCol="72000" rtlCol="0" anchor="ctr">
                <a:noAutofit/>
              </a:bodyPr>
              <a:lstStyle/>
              <a:p>
                <a:pPr algn="l">
                  <a:lnSpc>
                    <a:spcPct val="110000"/>
                  </a:lnSpc>
                  <a:spcBef>
                    <a:spcPct val="0"/>
                  </a:spcBef>
                </a:pPr>
                <a:endParaRPr lang="en-US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2C4A0621-0B7F-4712-A7E4-D9DE36F0838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630013" y="3936815"/>
                <a:ext cx="55045" cy="57871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lIns="108000" tIns="54000" rIns="36000" bIns="54000" numCol="1" spcCol="72000" rtlCol="0" anchor="ctr">
                <a:noAutofit/>
              </a:bodyPr>
              <a:lstStyle/>
              <a:p>
                <a:pPr algn="l">
                  <a:lnSpc>
                    <a:spcPct val="110000"/>
                  </a:lnSpc>
                  <a:spcBef>
                    <a:spcPct val="0"/>
                  </a:spcBef>
                </a:pPr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EF81387F-9354-409C-B29E-96ADC3167C8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7630013" y="4174285"/>
                <a:ext cx="55045" cy="57871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lIns="108000" tIns="54000" rIns="36000" bIns="54000" numCol="1" spcCol="72000" rtlCol="0" anchor="ctr">
                <a:noAutofit/>
              </a:bodyPr>
              <a:lstStyle/>
              <a:p>
                <a:pPr algn="l">
                  <a:lnSpc>
                    <a:spcPct val="110000"/>
                  </a:lnSpc>
                  <a:spcBef>
                    <a:spcPct val="0"/>
                  </a:spcBef>
                </a:pPr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050278F8-DED2-4B99-8F92-C8FDF3D38D46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702063" y="3922285"/>
                <a:ext cx="55045" cy="57871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wrap="square" lIns="108000" tIns="54000" rIns="36000" bIns="54000" numCol="1" spcCol="72000" rtlCol="0" anchor="ctr">
                <a:noAutofit/>
              </a:bodyPr>
              <a:lstStyle/>
              <a:p>
                <a:pPr algn="l">
                  <a:lnSpc>
                    <a:spcPct val="110000"/>
                  </a:lnSpc>
                  <a:spcBef>
                    <a:spcPct val="0"/>
                  </a:spcBef>
                </a:pPr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ACFD12B7-49B6-4916-B9FF-99EC27D58044}"/>
                  </a:ext>
                </a:extLst>
              </p:cNvPr>
              <p:cNvSpPr/>
              <p:nvPr/>
            </p:nvSpPr>
            <p:spPr bwMode="auto">
              <a:xfrm>
                <a:off x="7658292" y="3555333"/>
                <a:ext cx="1070640" cy="241475"/>
              </a:xfrm>
              <a:prstGeom prst="rect">
                <a:avLst/>
              </a:prstGeom>
              <a:solidFill>
                <a:srgbClr val="FFFF00"/>
              </a:solidFill>
              <a:ln>
                <a:noFill/>
              </a:ln>
              <a:effectLst>
                <a:outerShdw blurRad="63500" dist="38099" dir="2700000" algn="ctr" rotWithShape="0">
                  <a:schemeClr val="accent2">
                    <a:lumMod val="50000"/>
                    <a:alpha val="75000"/>
                  </a:schemeClr>
                </a:outerShdw>
              </a:effectLst>
            </p:spPr>
            <p:txBody>
              <a:bodyPr wrap="square" lIns="36000" tIns="36000" rIns="0" bIns="36000" numCol="1" spcCol="72000" rtlCol="0" anchor="ctr">
                <a:noAutofit/>
              </a:bodyPr>
              <a:lstStyle/>
              <a:p>
                <a:pPr algn="l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sz="1400" err="1">
                    <a:solidFill>
                      <a:schemeClr val="tx1"/>
                    </a:solidFill>
                  </a:rPr>
                  <a:t>RoomSetpoint</a:t>
                </a:r>
                <a:endParaRPr lang="en-US" sz="14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F087C5A-D8B3-4C07-8146-E2A1E497AE02}"/>
                </a:ext>
              </a:extLst>
            </p:cNvPr>
            <p:cNvSpPr txBox="1"/>
            <p:nvPr/>
          </p:nvSpPr>
          <p:spPr>
            <a:xfrm flipH="1">
              <a:off x="7952902" y="4196134"/>
              <a:ext cx="893612" cy="1874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  <a:spcBef>
                  <a:spcPct val="0"/>
                </a:spcBef>
              </a:pPr>
              <a:r>
                <a:rPr lang="en-US" sz="1200">
                  <a:solidFill>
                    <a:schemeClr val="tx1"/>
                  </a:solidFill>
                </a:rPr>
                <a:t>Type: FBD</a:t>
              </a:r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25D03255-4EE9-4709-9111-21F0851C4725}"/>
              </a:ext>
            </a:extLst>
          </p:cNvPr>
          <p:cNvSpPr/>
          <p:nvPr/>
        </p:nvSpPr>
        <p:spPr bwMode="auto">
          <a:xfrm>
            <a:off x="5897693" y="6971158"/>
            <a:ext cx="1719982" cy="589637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r>
              <a:rPr lang="en-US">
                <a:solidFill>
                  <a:schemeClr val="bg1"/>
                </a:solidFill>
              </a:rPr>
              <a:t>1. Step no line only hardware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674E7AA-81CB-4EEA-9E3E-83023D05C41D}"/>
              </a:ext>
            </a:extLst>
          </p:cNvPr>
          <p:cNvSpPr/>
          <p:nvPr/>
        </p:nvSpPr>
        <p:spPr bwMode="auto">
          <a:xfrm>
            <a:off x="5897693" y="7701425"/>
            <a:ext cx="1719982" cy="54184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36000" bIns="54000" numCol="1" spcCol="72000" rtlCol="0" anchor="ctr">
            <a:noAutofit/>
          </a:bodyPr>
          <a:lstStyle/>
          <a:p>
            <a:pPr algn="l">
              <a:lnSpc>
                <a:spcPct val="110000"/>
              </a:lnSpc>
              <a:spcBef>
                <a:spcPct val="0"/>
              </a:spcBef>
            </a:pPr>
            <a:r>
              <a:rPr lang="en-US">
                <a:solidFill>
                  <a:schemeClr val="bg1"/>
                </a:solidFill>
              </a:rPr>
              <a:t>2. Step - line</a:t>
            </a:r>
          </a:p>
        </p:txBody>
      </p:sp>
    </p:spTree>
    <p:extLst>
      <p:ext uri="{BB962C8B-B14F-4D97-AF65-F5344CB8AC3E}">
        <p14:creationId xmlns:p14="http://schemas.microsoft.com/office/powerpoint/2010/main" val="1217175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/>
            </a:br>
            <a:endParaRPr lang="en-US" noProof="0"/>
          </a:p>
        </p:txBody>
      </p:sp>
      <p:sp>
        <p:nvSpPr>
          <p:cNvPr id="47" name="cdtText Box 4 Id114692">
            <a:extLst>
              <a:ext uri="{FF2B5EF4-FFF2-40B4-BE49-F238E27FC236}">
                <a16:creationId xmlns:a16="http://schemas.microsoft.com/office/drawing/2014/main" id="{280AB5EB-1010-4300-AABD-DD8BF9A2B90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159999" y="1084"/>
            <a:ext cx="10035175" cy="468000"/>
          </a:xfrm>
          <a:prstGeom prst="rect">
            <a:avLst/>
          </a:prstGeom>
          <a:gradFill>
            <a:gsLst>
              <a:gs pos="58000">
                <a:srgbClr val="00315F"/>
              </a:gs>
              <a:gs pos="6000">
                <a:srgbClr val="00022B"/>
              </a:gs>
              <a:gs pos="100000">
                <a:srgbClr val="0080B6"/>
              </a:gs>
            </a:gsLst>
            <a:lin ang="0" scaled="0"/>
          </a:gradFill>
          <a:ln>
            <a:noFill/>
          </a:ln>
          <a:effectLst/>
        </p:spPr>
        <p:txBody>
          <a:bodyPr wrap="square" lIns="143963" tIns="143963" rIns="143963" bIns="143963" numCol="1" spcCol="72000" rtlCol="0" anchor="ctr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</a:rPr>
              <a:t>Automation Objects overview</a:t>
            </a:r>
          </a:p>
        </p:txBody>
      </p:sp>
      <p:sp>
        <p:nvSpPr>
          <p:cNvPr id="49" name="Textfeld 337">
            <a:extLst>
              <a:ext uri="{FF2B5EF4-FFF2-40B4-BE49-F238E27FC236}">
                <a16:creationId xmlns:a16="http://schemas.microsoft.com/office/drawing/2014/main" id="{FAF19FD7-1936-43A3-8E21-34F5A3AC1EB7}"/>
              </a:ext>
            </a:extLst>
          </p:cNvPr>
          <p:cNvSpPr txBox="1"/>
          <p:nvPr/>
        </p:nvSpPr>
        <p:spPr>
          <a:xfrm>
            <a:off x="7619" y="3177640"/>
            <a:ext cx="2160000" cy="222249"/>
          </a:xfrm>
          <a:prstGeom prst="rect">
            <a:avLst/>
          </a:prstGeom>
          <a:solidFill>
            <a:srgbClr val="0080B6"/>
          </a:solidFill>
        </p:spPr>
        <p:txBody>
          <a:bodyPr wrap="square" lIns="54000" tIns="0" rIns="0" bIns="0" rtlCol="0" anchor="ctr" anchorCtr="0">
            <a:noAutofit/>
          </a:bodyPr>
          <a:lstStyle>
            <a:defPPr>
              <a:defRPr lang="de-DE"/>
            </a:defPPr>
            <a:lvl1pPr algn="l">
              <a:lnSpc>
                <a:spcPct val="110000"/>
              </a:lnSpc>
              <a:spcBef>
                <a:spcPts val="0"/>
              </a:spcBef>
              <a:defRPr sz="1100" b="1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r>
              <a:rPr lang="en-US" sz="1100" b="0">
                <a:latin typeface="+mj-lt"/>
              </a:rPr>
              <a:t>– </a:t>
            </a:r>
            <a:r>
              <a:rPr lang="en-US" b="0" kern="1200">
                <a:latin typeface="+mj-lt"/>
                <a:ea typeface="+mn-ea"/>
              </a:rPr>
              <a:t>Automation objects</a:t>
            </a:r>
            <a:endParaRPr lang="en-US" sz="1100" b="0" u="none" strike="noStrike" kern="1200">
              <a:effectLst/>
              <a:latin typeface="+mj-lt"/>
              <a:ea typeface="+mn-ea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E0A9E03-9FD2-499F-B5E3-A6DC8CF74E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3040" y="646571"/>
            <a:ext cx="5921588" cy="587199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F5DA1EA-AEA1-4FE2-913A-65F3D69737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54153" y="4780700"/>
            <a:ext cx="4149635" cy="184603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77EF6B5-B38F-4DB6-9139-31B5E65D80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73040" y="4888872"/>
            <a:ext cx="2310852" cy="1629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107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/>
            </a:br>
            <a:endParaRPr lang="en-US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4C69C2D-CF19-418F-A066-67E9F18DE7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5720" y="898593"/>
            <a:ext cx="1799731" cy="971855"/>
          </a:xfrm>
          <a:prstGeom prst="rect">
            <a:avLst/>
          </a:prstGeom>
        </p:spPr>
      </p:pic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A089455-6628-4FEB-A3CB-B00EC7F3745C}"/>
              </a:ext>
            </a:extLst>
          </p:cNvPr>
          <p:cNvCxnSpPr>
            <a:cxnSpLocks/>
          </p:cNvCxnSpPr>
          <p:nvPr/>
        </p:nvCxnSpPr>
        <p:spPr bwMode="auto">
          <a:xfrm flipV="1">
            <a:off x="3873434" y="1455092"/>
            <a:ext cx="271326" cy="100864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F20F304B-FF67-4A6E-A0EF-05708C564DBF}"/>
              </a:ext>
            </a:extLst>
          </p:cNvPr>
          <p:cNvSpPr txBox="1"/>
          <p:nvPr/>
        </p:nvSpPr>
        <p:spPr>
          <a:xfrm>
            <a:off x="2920346" y="1490996"/>
            <a:ext cx="857342" cy="1862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CH" sz="900" b="1" err="1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eliability</a:t>
            </a:r>
            <a:endParaRPr lang="de-CH" sz="900" b="1">
              <a:solidFill>
                <a:srgbClr val="FF0000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88E5B86-9B32-43E8-B458-50EDAE3243FD}"/>
              </a:ext>
            </a:extLst>
          </p:cNvPr>
          <p:cNvSpPr txBox="1"/>
          <p:nvPr/>
        </p:nvSpPr>
        <p:spPr>
          <a:xfrm>
            <a:off x="6073484" y="1159177"/>
            <a:ext cx="829216" cy="1862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resent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alue</a:t>
            </a:r>
            <a:endParaRPr lang="de-CH" sz="9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82B18646-0334-4CC4-93DE-3511866B767D}"/>
              </a:ext>
            </a:extLst>
          </p:cNvPr>
          <p:cNvCxnSpPr>
            <a:cxnSpLocks/>
          </p:cNvCxnSpPr>
          <p:nvPr/>
        </p:nvCxnSpPr>
        <p:spPr bwMode="auto">
          <a:xfrm flipH="1">
            <a:off x="5673934" y="1240867"/>
            <a:ext cx="324282" cy="93115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9ABF3ECB-2E12-41CF-9A2F-35BC3808F90A}"/>
              </a:ext>
            </a:extLst>
          </p:cNvPr>
          <p:cNvCxnSpPr>
            <a:cxnSpLocks/>
          </p:cNvCxnSpPr>
          <p:nvPr/>
        </p:nvCxnSpPr>
        <p:spPr bwMode="auto">
          <a:xfrm>
            <a:off x="3809427" y="1345409"/>
            <a:ext cx="328897" cy="1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E99AB4BD-8953-4CC7-B336-316483E67625}"/>
              </a:ext>
            </a:extLst>
          </p:cNvPr>
          <p:cNvSpPr txBox="1"/>
          <p:nvPr/>
        </p:nvSpPr>
        <p:spPr>
          <a:xfrm>
            <a:off x="3020704" y="1271039"/>
            <a:ext cx="722538" cy="12588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ensor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8DC1D44-4A6B-4470-817F-6489447F02BD}"/>
              </a:ext>
            </a:extLst>
          </p:cNvPr>
          <p:cNvCxnSpPr>
            <a:cxnSpLocks/>
          </p:cNvCxnSpPr>
          <p:nvPr/>
        </p:nvCxnSpPr>
        <p:spPr bwMode="auto">
          <a:xfrm flipH="1">
            <a:off x="5703197" y="1462605"/>
            <a:ext cx="330915" cy="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A9D68FB5-1185-4737-BE6E-ACC2FE2115D1}"/>
              </a:ext>
            </a:extLst>
          </p:cNvPr>
          <p:cNvSpPr txBox="1"/>
          <p:nvPr/>
        </p:nvSpPr>
        <p:spPr>
          <a:xfrm>
            <a:off x="6081089" y="1380103"/>
            <a:ext cx="939352" cy="1741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larm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andling</a:t>
            </a:r>
            <a:endParaRPr lang="de-CH" sz="9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7DC37505-AFE0-4B2E-AC01-C547DA191709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5707396" y="1577144"/>
            <a:ext cx="330914" cy="50141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01E7CF5E-584F-4B30-9465-556CFE514AB1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5707396" y="1705342"/>
            <a:ext cx="330914" cy="93116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1BC200E1-0E02-401B-8133-7E3041584679}"/>
              </a:ext>
            </a:extLst>
          </p:cNvPr>
          <p:cNvSpPr txBox="1"/>
          <p:nvPr/>
        </p:nvSpPr>
        <p:spPr>
          <a:xfrm>
            <a:off x="6073483" y="1578010"/>
            <a:ext cx="1291530" cy="1741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900" b="1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alue </a:t>
            </a:r>
            <a:r>
              <a:rPr lang="de-CH" sz="900" b="1" err="1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f</a:t>
            </a:r>
            <a:r>
              <a:rPr lang="de-CH" sz="900" b="1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b="1" err="1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ow</a:t>
            </a:r>
            <a:r>
              <a:rPr lang="de-CH" sz="900" b="1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b="1" err="1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larm</a:t>
            </a:r>
            <a:endParaRPr lang="de-CH" sz="900" b="1">
              <a:solidFill>
                <a:srgbClr val="FF0000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E5128FB-3E44-433B-88DC-8A3D4EFAA2B2}"/>
              </a:ext>
            </a:extLst>
          </p:cNvPr>
          <p:cNvSpPr txBox="1"/>
          <p:nvPr/>
        </p:nvSpPr>
        <p:spPr>
          <a:xfrm>
            <a:off x="6073483" y="1769689"/>
            <a:ext cx="1291529" cy="1741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900" b="1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alue </a:t>
            </a:r>
            <a:r>
              <a:rPr lang="de-CH" sz="900" b="1" err="1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f</a:t>
            </a:r>
            <a:r>
              <a:rPr lang="de-CH" sz="900" b="1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high </a:t>
            </a:r>
            <a:r>
              <a:rPr lang="de-CH" sz="900" b="1" err="1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larm</a:t>
            </a:r>
            <a:endParaRPr lang="de-CH" sz="900" b="1">
              <a:solidFill>
                <a:srgbClr val="FF0000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CD0F6729-B229-4B1D-A52C-7F9AECA4113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2239" y="5522959"/>
            <a:ext cx="3038538" cy="944072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96299680-CFBE-4AB5-BB63-836ACCEB3C2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7186" y="4157389"/>
            <a:ext cx="3019395" cy="1257562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B0219C05-99CC-4651-A65F-FFB14689FEF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8111" y="2368113"/>
            <a:ext cx="3015137" cy="693420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36A6F052-A07B-4BA4-9AF8-13AAA15A7F4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9488" y="3160294"/>
            <a:ext cx="3015137" cy="891540"/>
          </a:xfrm>
          <a:prstGeom prst="rect">
            <a:avLst/>
          </a:prstGeom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21362E7C-1119-4647-AE4B-49C0B07465D8}"/>
              </a:ext>
            </a:extLst>
          </p:cNvPr>
          <p:cNvSpPr txBox="1"/>
          <p:nvPr/>
        </p:nvSpPr>
        <p:spPr>
          <a:xfrm>
            <a:off x="5562521" y="2671537"/>
            <a:ext cx="1501840" cy="1862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tored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in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e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bject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torage</a:t>
            </a:r>
            <a:endParaRPr lang="de-CH" sz="9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9C77C5DA-477A-4375-8760-06787E69754A}"/>
              </a:ext>
            </a:extLst>
          </p:cNvPr>
          <p:cNvSpPr txBox="1"/>
          <p:nvPr/>
        </p:nvSpPr>
        <p:spPr>
          <a:xfrm>
            <a:off x="5559915" y="4664532"/>
            <a:ext cx="1501840" cy="1862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alue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for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high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imit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larm</a:t>
            </a:r>
            <a:endParaRPr lang="de-CH" sz="9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1F5C490-5773-499E-8A76-880322CEFACE}"/>
              </a:ext>
            </a:extLst>
          </p:cNvPr>
          <p:cNvSpPr txBox="1"/>
          <p:nvPr/>
        </p:nvSpPr>
        <p:spPr>
          <a:xfrm>
            <a:off x="5561093" y="5147566"/>
            <a:ext cx="1501840" cy="1862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alue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for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ow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imit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larm</a:t>
            </a:r>
            <a:endParaRPr lang="de-CH" sz="9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01B597BE-B023-465F-92F8-97624EA721FC}"/>
              </a:ext>
            </a:extLst>
          </p:cNvPr>
          <p:cNvSpPr txBox="1"/>
          <p:nvPr/>
        </p:nvSpPr>
        <p:spPr>
          <a:xfrm>
            <a:off x="5589580" y="3470151"/>
            <a:ext cx="1501840" cy="31013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imit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ange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f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e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imitLow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and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imitHigh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alues</a:t>
            </a:r>
            <a:endParaRPr lang="de-CH" sz="9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56FCADDC-DDCD-4931-9C16-B0FFA625B0F9}"/>
              </a:ext>
            </a:extLst>
          </p:cNvPr>
          <p:cNvSpPr txBox="1"/>
          <p:nvPr/>
        </p:nvSpPr>
        <p:spPr>
          <a:xfrm>
            <a:off x="5580961" y="3864313"/>
            <a:ext cx="1501840" cy="1569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ngineering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nit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des</a:t>
            </a:r>
            <a:endParaRPr lang="de-CH" sz="9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2A14343-A030-4E55-8719-9C2C49B4FC23}"/>
              </a:ext>
            </a:extLst>
          </p:cNvPr>
          <p:cNvSpPr/>
          <p:nvPr/>
        </p:nvSpPr>
        <p:spPr bwMode="auto">
          <a:xfrm>
            <a:off x="2501994" y="3787805"/>
            <a:ext cx="2641843" cy="23697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txBody>
          <a:bodyPr wrap="square" lIns="107972" tIns="53986" rIns="107972" bIns="53986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GB" sz="1799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30D7200E-0ED6-4AAE-AD26-F07EE1B05738}"/>
              </a:ext>
            </a:extLst>
          </p:cNvPr>
          <p:cNvSpPr/>
          <p:nvPr/>
        </p:nvSpPr>
        <p:spPr bwMode="auto">
          <a:xfrm>
            <a:off x="2514123" y="4689760"/>
            <a:ext cx="2641843" cy="8568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txBody>
          <a:bodyPr wrap="square" lIns="107972" tIns="53986" rIns="107972" bIns="53986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GB" sz="1799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ECA9084-5FB1-49A3-A1F5-05D3907FFAC0}"/>
              </a:ext>
            </a:extLst>
          </p:cNvPr>
          <p:cNvSpPr/>
          <p:nvPr/>
        </p:nvSpPr>
        <p:spPr bwMode="auto">
          <a:xfrm>
            <a:off x="2520411" y="5178498"/>
            <a:ext cx="2641843" cy="8568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txBody>
          <a:bodyPr wrap="square" lIns="107972" tIns="53986" rIns="107972" bIns="53986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GB" sz="1799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007E838B-F058-4B89-85A0-9CA3B4BCA6FF}"/>
              </a:ext>
            </a:extLst>
          </p:cNvPr>
          <p:cNvSpPr/>
          <p:nvPr/>
        </p:nvSpPr>
        <p:spPr bwMode="auto">
          <a:xfrm>
            <a:off x="2496583" y="6333948"/>
            <a:ext cx="2641843" cy="110085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txBody>
          <a:bodyPr wrap="square" lIns="107972" tIns="53986" rIns="107972" bIns="53986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GB" sz="1799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30EFEA72-CD3F-46AB-A280-ECBA8E40B8C7}"/>
              </a:ext>
            </a:extLst>
          </p:cNvPr>
          <p:cNvSpPr txBox="1"/>
          <p:nvPr/>
        </p:nvSpPr>
        <p:spPr>
          <a:xfrm>
            <a:off x="5567347" y="6172774"/>
            <a:ext cx="1636781" cy="3288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efines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where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and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ow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e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racking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alue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s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etermined</a:t>
            </a:r>
            <a:endParaRPr lang="de-CH" sz="9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18C9A55F-A9E8-4B5B-919E-47B81B0F3FF6}"/>
              </a:ext>
            </a:extLst>
          </p:cNvPr>
          <p:cNvGrpSpPr/>
          <p:nvPr/>
        </p:nvGrpSpPr>
        <p:grpSpPr>
          <a:xfrm>
            <a:off x="8120657" y="1721575"/>
            <a:ext cx="1941391" cy="1598318"/>
            <a:chOff x="5159683" y="3227421"/>
            <a:chExt cx="2457016" cy="1598734"/>
          </a:xfrm>
        </p:grpSpPr>
        <p:pic>
          <p:nvPicPr>
            <p:cNvPr id="125" name="Picture 124">
              <a:extLst>
                <a:ext uri="{FF2B5EF4-FFF2-40B4-BE49-F238E27FC236}">
                  <a16:creationId xmlns:a16="http://schemas.microsoft.com/office/drawing/2014/main" id="{3AE72CBE-3159-4A6C-A873-07CE18954B3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769799" y="3276602"/>
              <a:ext cx="1640222" cy="774919"/>
            </a:xfrm>
            <a:prstGeom prst="rect">
              <a:avLst/>
            </a:prstGeom>
          </p:spPr>
        </p:pic>
        <p:sp>
          <p:nvSpPr>
            <p:cNvPr id="100" name="Line 6">
              <a:extLst>
                <a:ext uri="{FF2B5EF4-FFF2-40B4-BE49-F238E27FC236}">
                  <a16:creationId xmlns:a16="http://schemas.microsoft.com/office/drawing/2014/main" id="{E972BC27-4F15-4666-A296-0713E5151A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81804" y="3620167"/>
              <a:ext cx="20371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35991" tIns="35991" rIns="35991" bIns="35991" anchor="ctr"/>
            <a:lstStyle/>
            <a:p>
              <a:endParaRPr lang="en-GB"/>
            </a:p>
          </p:txBody>
        </p:sp>
        <p:sp>
          <p:nvSpPr>
            <p:cNvPr id="103" name="Line 9">
              <a:extLst>
                <a:ext uri="{FF2B5EF4-FFF2-40B4-BE49-F238E27FC236}">
                  <a16:creationId xmlns:a16="http://schemas.microsoft.com/office/drawing/2014/main" id="{527C2731-60B1-4927-A95C-1AB421A37C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68642" y="4195983"/>
              <a:ext cx="1503143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35991" tIns="35991" rIns="35991" bIns="35991" anchor="ctr"/>
            <a:lstStyle/>
            <a:p>
              <a:endParaRPr lang="en-GB"/>
            </a:p>
          </p:txBody>
        </p:sp>
        <p:grpSp>
          <p:nvGrpSpPr>
            <p:cNvPr id="105" name="Group 14">
              <a:extLst>
                <a:ext uri="{FF2B5EF4-FFF2-40B4-BE49-F238E27FC236}">
                  <a16:creationId xmlns:a16="http://schemas.microsoft.com/office/drawing/2014/main" id="{22182A34-268F-492E-B716-879A06635FD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84677" y="3482847"/>
              <a:ext cx="233833" cy="468313"/>
              <a:chOff x="1406" y="2976"/>
              <a:chExt cx="136" cy="295"/>
            </a:xfrm>
          </p:grpSpPr>
          <p:sp>
            <p:nvSpPr>
              <p:cNvPr id="118" name="Oval 15">
                <a:extLst>
                  <a:ext uri="{FF2B5EF4-FFF2-40B4-BE49-F238E27FC236}">
                    <a16:creationId xmlns:a16="http://schemas.microsoft.com/office/drawing/2014/main" id="{11AE99B7-1989-4DF0-9156-4655ACC74F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6" y="2999"/>
                <a:ext cx="136" cy="136"/>
              </a:xfrm>
              <a:prstGeom prst="ellipse">
                <a:avLst/>
              </a:prstGeom>
              <a:solidFill>
                <a:schemeClr val="bg2"/>
              </a:soli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35991" tIns="35991" rIns="35991" bIns="35991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19" name="Text Box 16">
                <a:extLst>
                  <a:ext uri="{FF2B5EF4-FFF2-40B4-BE49-F238E27FC236}">
                    <a16:creationId xmlns:a16="http://schemas.microsoft.com/office/drawing/2014/main" id="{D9FE83BB-3F3D-4506-9084-9995D1FE0A8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429" y="2976"/>
                <a:ext cx="68" cy="1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35991" tIns="35991" rIns="35991" bIns="35991">
                <a:spAutoFit/>
              </a:bodyPr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en-US" altLang="en-US" sz="1200"/>
                  <a:t>T</a:t>
                </a:r>
              </a:p>
            </p:txBody>
          </p:sp>
          <p:sp>
            <p:nvSpPr>
              <p:cNvPr id="120" name="Line 17">
                <a:extLst>
                  <a:ext uri="{FF2B5EF4-FFF2-40B4-BE49-F238E27FC236}">
                    <a16:creationId xmlns:a16="http://schemas.microsoft.com/office/drawing/2014/main" id="{BF301B29-089E-4233-B4ED-8181427068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74" y="3135"/>
                <a:ext cx="0" cy="13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35991" tIns="35991" rIns="35991" bIns="35991" anchor="ctr"/>
              <a:lstStyle/>
              <a:p>
                <a:endParaRPr lang="en-GB"/>
              </a:p>
            </p:txBody>
          </p:sp>
        </p:grpSp>
        <p:sp>
          <p:nvSpPr>
            <p:cNvPr id="107" name="Line 19">
              <a:extLst>
                <a:ext uri="{FF2B5EF4-FFF2-40B4-BE49-F238E27FC236}">
                  <a16:creationId xmlns:a16="http://schemas.microsoft.com/office/drawing/2014/main" id="{903DF761-C30F-48D1-AC4A-F2E364E00F1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416915" y="3618299"/>
              <a:ext cx="352884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35991" tIns="35991" rIns="35991" bIns="35991" anchor="ctr"/>
            <a:lstStyle/>
            <a:p>
              <a:endParaRPr lang="en-GB"/>
            </a:p>
          </p:txBody>
        </p:sp>
        <p:sp>
          <p:nvSpPr>
            <p:cNvPr id="108" name="Text Box 20">
              <a:extLst>
                <a:ext uri="{FF2B5EF4-FFF2-40B4-BE49-F238E27FC236}">
                  <a16:creationId xmlns:a16="http://schemas.microsoft.com/office/drawing/2014/main" id="{61623E6B-6CC7-4E58-B473-C87E6669A2C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05933" y="4230102"/>
              <a:ext cx="710766" cy="2343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5991" tIns="35991" rIns="35991" bIns="35991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5000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5000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5000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5000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1050"/>
                <a:t>Modbus</a:t>
              </a:r>
            </a:p>
          </p:txBody>
        </p:sp>
        <p:sp>
          <p:nvSpPr>
            <p:cNvPr id="109" name="Line 21">
              <a:extLst>
                <a:ext uri="{FF2B5EF4-FFF2-40B4-BE49-F238E27FC236}">
                  <a16:creationId xmlns:a16="http://schemas.microsoft.com/office/drawing/2014/main" id="{D6978BF0-DD97-439B-B43D-308FE57BBE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37811" y="3877137"/>
              <a:ext cx="0" cy="31884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35991" tIns="35991" rIns="35991" bIns="35991" anchor="ctr"/>
            <a:lstStyle/>
            <a:p>
              <a:endParaRPr lang="en-GB"/>
            </a:p>
          </p:txBody>
        </p:sp>
        <p:sp>
          <p:nvSpPr>
            <p:cNvPr id="110" name="Text Box 22">
              <a:extLst>
                <a:ext uri="{FF2B5EF4-FFF2-40B4-BE49-F238E27FC236}">
                  <a16:creationId xmlns:a16="http://schemas.microsoft.com/office/drawing/2014/main" id="{E6C19FA5-B757-403D-ABC0-0CDBC3C4338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59683" y="3227421"/>
              <a:ext cx="537464" cy="255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5991" tIns="35991" rIns="35991" bIns="35991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5000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5000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5000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5000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spcBef>
                  <a:spcPct val="50000"/>
                </a:spcBef>
              </a:pPr>
              <a:r>
                <a:rPr lang="en-US" altLang="en-US" sz="1200" b="1" err="1"/>
                <a:t>Apl</a:t>
              </a:r>
              <a:endParaRPr lang="en-US" altLang="en-US" sz="1200" b="1"/>
            </a:p>
          </p:txBody>
        </p:sp>
        <p:sp>
          <p:nvSpPr>
            <p:cNvPr id="111" name="Text Box 23">
              <a:extLst>
                <a:ext uri="{FF2B5EF4-FFF2-40B4-BE49-F238E27FC236}">
                  <a16:creationId xmlns:a16="http://schemas.microsoft.com/office/drawing/2014/main" id="{9820B2E1-AF1B-40E9-87B9-A744DC7F2C2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81804" y="4245015"/>
              <a:ext cx="553182" cy="242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5991" tIns="35991" rIns="35991" bIns="35991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5000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5000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5000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5000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en-US" sz="1100" b="1"/>
                <a:t>COM</a:t>
              </a:r>
              <a:endParaRPr lang="en-US" altLang="en-US" sz="1200" b="1"/>
            </a:p>
          </p:txBody>
        </p:sp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C137719A-CA8B-43BC-9C6E-51F167FF5C2B}"/>
                </a:ext>
              </a:extLst>
            </p:cNvPr>
            <p:cNvGrpSpPr/>
            <p:nvPr/>
          </p:nvGrpSpPr>
          <p:grpSpPr>
            <a:xfrm>
              <a:off x="6286382" y="3584857"/>
              <a:ext cx="312922" cy="287338"/>
              <a:chOff x="5662815" y="2338477"/>
              <a:chExt cx="312922" cy="287338"/>
            </a:xfrm>
          </p:grpSpPr>
          <p:sp>
            <p:nvSpPr>
              <p:cNvPr id="112" name="Oval 24">
                <a:extLst>
                  <a:ext uri="{FF2B5EF4-FFF2-40B4-BE49-F238E27FC236}">
                    <a16:creationId xmlns:a16="http://schemas.microsoft.com/office/drawing/2014/main" id="{7B8CF30E-3DC0-4C25-AF05-7E6960A2F0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62815" y="2338477"/>
                <a:ext cx="79090" cy="71438"/>
              </a:xfrm>
              <a:prstGeom prst="ellipse">
                <a:avLst/>
              </a:prstGeom>
              <a:noFill/>
              <a:ln w="9525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35991" tIns="35991" rIns="35991" bIns="35991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13" name="Oval 25">
                <a:extLst>
                  <a:ext uri="{FF2B5EF4-FFF2-40B4-BE49-F238E27FC236}">
                    <a16:creationId xmlns:a16="http://schemas.microsoft.com/office/drawing/2014/main" id="{3EC2CFFB-6111-4202-B3A5-E93B42A9B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62815" y="2554377"/>
                <a:ext cx="79090" cy="71438"/>
              </a:xfrm>
              <a:prstGeom prst="ellipse">
                <a:avLst/>
              </a:prstGeom>
              <a:noFill/>
              <a:ln w="9525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35991" tIns="35991" rIns="35991" bIns="35991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14" name="Oval 26">
                <a:extLst>
                  <a:ext uri="{FF2B5EF4-FFF2-40B4-BE49-F238E27FC236}">
                    <a16:creationId xmlns:a16="http://schemas.microsoft.com/office/drawing/2014/main" id="{406DF5CD-408A-4227-B038-51A72F711B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96647" y="2446427"/>
                <a:ext cx="79090" cy="71438"/>
              </a:xfrm>
              <a:prstGeom prst="ellipse">
                <a:avLst/>
              </a:prstGeom>
              <a:noFill/>
              <a:ln w="9525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35991" tIns="35991" rIns="35991" bIns="35991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99" name="Line 30">
                <a:extLst>
                  <a:ext uri="{FF2B5EF4-FFF2-40B4-BE49-F238E27FC236}">
                    <a16:creationId xmlns:a16="http://schemas.microsoft.com/office/drawing/2014/main" id="{3FDFB387-9CC4-4922-8B52-96ABE80F641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5675858" y="2409915"/>
                <a:ext cx="220789" cy="71437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35991" tIns="35991" rIns="35991" bIns="35991" anchor="ctr"/>
              <a:lstStyle/>
              <a:p>
                <a:endParaRPr lang="en-GB"/>
              </a:p>
            </p:txBody>
          </p:sp>
        </p:grpSp>
        <p:sp>
          <p:nvSpPr>
            <p:cNvPr id="127" name="Line 6">
              <a:extLst>
                <a:ext uri="{FF2B5EF4-FFF2-40B4-BE49-F238E27FC236}">
                  <a16:creationId xmlns:a16="http://schemas.microsoft.com/office/drawing/2014/main" id="{0DB508D1-E7EF-4C80-82C5-096C84B073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99304" y="3727732"/>
              <a:ext cx="98547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35991" tIns="35991" rIns="35991" bIns="35991" anchor="ctr"/>
            <a:lstStyle/>
            <a:p>
              <a:endParaRPr lang="en-GB"/>
            </a:p>
          </p:txBody>
        </p:sp>
        <p:sp>
          <p:nvSpPr>
            <p:cNvPr id="128" name="Line 6">
              <a:extLst>
                <a:ext uri="{FF2B5EF4-FFF2-40B4-BE49-F238E27FC236}">
                  <a16:creationId xmlns:a16="http://schemas.microsoft.com/office/drawing/2014/main" id="{1800B206-0D1E-478F-A48B-AB146A0F61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97852" y="3628352"/>
              <a:ext cx="15240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35991" tIns="35991" rIns="35991" bIns="35991" anchor="ctr"/>
            <a:lstStyle/>
            <a:p>
              <a:endParaRPr lang="en-GB"/>
            </a:p>
          </p:txBody>
        </p:sp>
        <p:sp>
          <p:nvSpPr>
            <p:cNvPr id="129" name="Line 6">
              <a:extLst>
                <a:ext uri="{FF2B5EF4-FFF2-40B4-BE49-F238E27FC236}">
                  <a16:creationId xmlns:a16="http://schemas.microsoft.com/office/drawing/2014/main" id="{7AA24451-9587-44F4-9FF5-67A8F92FC3B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697850" y="3628352"/>
              <a:ext cx="1" cy="10121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35991" tIns="35991" rIns="35991" bIns="35991" anchor="ctr"/>
            <a:lstStyle/>
            <a:p>
              <a:endParaRPr lang="en-GB"/>
            </a:p>
          </p:txBody>
        </p:sp>
        <p:sp>
          <p:nvSpPr>
            <p:cNvPr id="130" name="Line 21">
              <a:extLst>
                <a:ext uri="{FF2B5EF4-FFF2-40B4-BE49-F238E27FC236}">
                  <a16:creationId xmlns:a16="http://schemas.microsoft.com/office/drawing/2014/main" id="{ADE154B8-15D6-4B1F-B268-C8B15411A1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50645" y="4177998"/>
              <a:ext cx="0" cy="31884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35991" tIns="35991" rIns="35991" bIns="35991" anchor="ctr"/>
            <a:lstStyle/>
            <a:p>
              <a:endParaRPr lang="en-GB"/>
            </a:p>
          </p:txBody>
        </p:sp>
        <p:grpSp>
          <p:nvGrpSpPr>
            <p:cNvPr id="104" name="Group 10">
              <a:extLst>
                <a:ext uri="{FF2B5EF4-FFF2-40B4-BE49-F238E27FC236}">
                  <a16:creationId xmlns:a16="http://schemas.microsoft.com/office/drawing/2014/main" id="{96E404C2-19C9-4AC9-9701-D7AB9F98BF3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626801" y="4357842"/>
              <a:ext cx="233833" cy="468313"/>
              <a:chOff x="1406" y="2976"/>
              <a:chExt cx="136" cy="295"/>
            </a:xfrm>
          </p:grpSpPr>
          <p:sp>
            <p:nvSpPr>
              <p:cNvPr id="121" name="Oval 11">
                <a:extLst>
                  <a:ext uri="{FF2B5EF4-FFF2-40B4-BE49-F238E27FC236}">
                    <a16:creationId xmlns:a16="http://schemas.microsoft.com/office/drawing/2014/main" id="{AD5504A1-7137-4EED-A7AC-0CAA030CB7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6" y="2999"/>
                <a:ext cx="136" cy="136"/>
              </a:xfrm>
              <a:prstGeom prst="ellipse">
                <a:avLst/>
              </a:prstGeom>
              <a:solidFill>
                <a:schemeClr val="bg2"/>
              </a:soli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35991" tIns="35991" rIns="35991" bIns="35991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22" name="Text Box 12">
                <a:extLst>
                  <a:ext uri="{FF2B5EF4-FFF2-40B4-BE49-F238E27FC236}">
                    <a16:creationId xmlns:a16="http://schemas.microsoft.com/office/drawing/2014/main" id="{41F8E379-8F4E-40C4-A4D9-13FC56A613B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429" y="2976"/>
                <a:ext cx="68" cy="1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35991" tIns="35991" rIns="35991" bIns="35991">
                <a:spAutoFit/>
              </a:bodyPr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5000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en-US" altLang="en-US" sz="1200"/>
                  <a:t>T</a:t>
                </a:r>
              </a:p>
            </p:txBody>
          </p:sp>
          <p:sp>
            <p:nvSpPr>
              <p:cNvPr id="123" name="Line 13">
                <a:extLst>
                  <a:ext uri="{FF2B5EF4-FFF2-40B4-BE49-F238E27FC236}">
                    <a16:creationId xmlns:a16="http://schemas.microsoft.com/office/drawing/2014/main" id="{B4415192-D37B-4113-9DDF-73E0D10245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74" y="3135"/>
                <a:ext cx="0" cy="13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35991" tIns="35991" rIns="35991" bIns="35991" anchor="ctr"/>
              <a:lstStyle/>
              <a:p>
                <a:endParaRPr lang="en-GB"/>
              </a:p>
            </p:txBody>
          </p:sp>
        </p:grpSp>
      </p:grpSp>
      <p:sp>
        <p:nvSpPr>
          <p:cNvPr id="132" name="Rectangle 3">
            <a:extLst>
              <a:ext uri="{FF2B5EF4-FFF2-40B4-BE49-F238E27FC236}">
                <a16:creationId xmlns:a16="http://schemas.microsoft.com/office/drawing/2014/main" id="{DCBE7CEC-F0C9-45FE-91B4-098969E394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67531" y="809458"/>
            <a:ext cx="4266264" cy="724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200" kern="0"/>
              <a:t>Tracking (value) selector:</a:t>
            </a:r>
          </a:p>
          <a:p>
            <a:pPr lvl="3">
              <a:buFontTx/>
              <a:buChar char="-"/>
            </a:pPr>
            <a:r>
              <a:rPr lang="en-US" altLang="en-US" sz="1200" kern="0"/>
              <a:t>Value direct from the application (default)</a:t>
            </a:r>
          </a:p>
          <a:p>
            <a:pPr lvl="3">
              <a:buFontTx/>
              <a:buChar char="-"/>
            </a:pPr>
            <a:r>
              <a:rPr lang="en-US" altLang="en-US" sz="1200" kern="0"/>
              <a:t>Or from communications (e.g. Modbus)</a:t>
            </a:r>
          </a:p>
        </p:txBody>
      </p:sp>
      <p:sp>
        <p:nvSpPr>
          <p:cNvPr id="133" name="Rectangle 3">
            <a:extLst>
              <a:ext uri="{FF2B5EF4-FFF2-40B4-BE49-F238E27FC236}">
                <a16:creationId xmlns:a16="http://schemas.microsoft.com/office/drawing/2014/main" id="{0FB9579E-CA06-45EE-B0B1-060EF4A2DD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48814" y="3265785"/>
            <a:ext cx="4502588" cy="1362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1588" lvl="1" indent="0">
              <a:buNone/>
            </a:pPr>
            <a:r>
              <a:rPr lang="en-US" altLang="en-US" sz="1000" b="1" err="1"/>
              <a:t>Apl</a:t>
            </a:r>
            <a:r>
              <a:rPr lang="en-US" altLang="en-US" sz="1000"/>
              <a:t> 	Present value from the Application value</a:t>
            </a:r>
            <a:br>
              <a:rPr lang="en-US" altLang="en-US" sz="1000"/>
            </a:br>
            <a:r>
              <a:rPr lang="en-US" altLang="en-US" sz="1000" b="1"/>
              <a:t>COM</a:t>
            </a:r>
            <a:r>
              <a:rPr lang="en-US" altLang="en-US" sz="1000"/>
              <a:t> 	Present value from the Communication value</a:t>
            </a:r>
            <a:br>
              <a:rPr lang="en-US" altLang="en-US" sz="1000"/>
            </a:br>
            <a:r>
              <a:rPr lang="en-US" altLang="en-US" sz="1000" b="1"/>
              <a:t>Average</a:t>
            </a:r>
            <a:r>
              <a:rPr lang="en-US" altLang="en-US" sz="1000"/>
              <a:t> 	Present value is the average between </a:t>
            </a:r>
            <a:r>
              <a:rPr lang="en-US" altLang="en-US" sz="1000" err="1"/>
              <a:t>Apl</a:t>
            </a:r>
            <a:r>
              <a:rPr lang="en-US" altLang="en-US" sz="1000"/>
              <a:t> and COM</a:t>
            </a:r>
            <a:br>
              <a:rPr lang="en-US" altLang="en-US" sz="1000"/>
            </a:br>
            <a:r>
              <a:rPr lang="en-US" altLang="en-US" sz="1000" b="1"/>
              <a:t>Min</a:t>
            </a:r>
            <a:r>
              <a:rPr lang="en-US" altLang="en-US" sz="1000"/>
              <a:t> 	Present value is the lower value of COM and Appl</a:t>
            </a:r>
            <a:br>
              <a:rPr lang="en-US" altLang="en-US" sz="1000"/>
            </a:br>
            <a:r>
              <a:rPr lang="en-US" altLang="en-US" sz="1000" b="1"/>
              <a:t>Max</a:t>
            </a:r>
            <a:r>
              <a:rPr lang="en-US" altLang="en-US" sz="1000"/>
              <a:t> 	Present value is the higher value of COM and Appl</a:t>
            </a:r>
            <a:br>
              <a:rPr lang="en-US" altLang="en-US" sz="1000"/>
            </a:br>
            <a:r>
              <a:rPr lang="en-US" altLang="en-US" sz="1000" b="1" err="1"/>
              <a:t>PrfApl</a:t>
            </a:r>
            <a:r>
              <a:rPr lang="en-US" altLang="en-US" sz="1000"/>
              <a:t> 	If </a:t>
            </a:r>
            <a:r>
              <a:rPr lang="en-US" altLang="en-US" sz="1000" err="1"/>
              <a:t>Apl</a:t>
            </a:r>
            <a:r>
              <a:rPr lang="en-US" altLang="en-US" sz="1000"/>
              <a:t> is good (Reliability ok), </a:t>
            </a:r>
            <a:r>
              <a:rPr lang="en-US" altLang="en-US" sz="1000" err="1"/>
              <a:t>PrVAL</a:t>
            </a:r>
            <a:r>
              <a:rPr lang="en-US" altLang="en-US" sz="1000"/>
              <a:t> is </a:t>
            </a:r>
            <a:r>
              <a:rPr lang="en-US" altLang="en-US" sz="1000" err="1"/>
              <a:t>Apl</a:t>
            </a:r>
            <a:r>
              <a:rPr lang="en-US" altLang="en-US" sz="1000"/>
              <a:t>, otherwise COM</a:t>
            </a:r>
            <a:endParaRPr lang="en-US" altLang="en-US" sz="1000" kern="0"/>
          </a:p>
          <a:p>
            <a:pPr marL="1588" lvl="1" indent="0">
              <a:buNone/>
            </a:pPr>
            <a:r>
              <a:rPr lang="en-US" altLang="en-US" sz="1000" b="1" err="1"/>
              <a:t>PrfCOM</a:t>
            </a:r>
            <a:r>
              <a:rPr lang="en-US" altLang="en-US" sz="1000"/>
              <a:t>	If COM is good (Reliability ok), </a:t>
            </a:r>
            <a:r>
              <a:rPr lang="en-US" altLang="en-US" sz="1000" err="1"/>
              <a:t>PrVal</a:t>
            </a:r>
            <a:r>
              <a:rPr lang="en-US" altLang="en-US" sz="1000"/>
              <a:t> is COM, otherwise </a:t>
            </a:r>
            <a:r>
              <a:rPr lang="en-US" altLang="en-US" sz="1000" err="1"/>
              <a:t>Apl</a:t>
            </a:r>
            <a:endParaRPr lang="en-US" altLang="en-US" sz="1000"/>
          </a:p>
          <a:p>
            <a:pPr marL="1588" lvl="1" indent="0">
              <a:buNone/>
            </a:pPr>
            <a:endParaRPr lang="en-US" altLang="en-US" sz="1200" kern="0"/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</p:txBody>
      </p:sp>
      <p:pic>
        <p:nvPicPr>
          <p:cNvPr id="137" name="Picture 136">
            <a:extLst>
              <a:ext uri="{FF2B5EF4-FFF2-40B4-BE49-F238E27FC236}">
                <a16:creationId xmlns:a16="http://schemas.microsoft.com/office/drawing/2014/main" id="{2F6C3B55-5601-4E39-8F82-D5EC793591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14374" y="5785174"/>
            <a:ext cx="491417" cy="990060"/>
          </a:xfrm>
          <a:prstGeom prst="rect">
            <a:avLst/>
          </a:prstGeom>
        </p:spPr>
      </p:pic>
      <p:sp>
        <p:nvSpPr>
          <p:cNvPr id="140" name="Rectangle 3">
            <a:extLst>
              <a:ext uri="{FF2B5EF4-FFF2-40B4-BE49-F238E27FC236}">
                <a16:creationId xmlns:a16="http://schemas.microsoft.com/office/drawing/2014/main" id="{6476AED3-9B9D-441A-BCAC-8BEC3A6F9A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82611" y="5580659"/>
            <a:ext cx="3421060" cy="513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200" kern="0"/>
              <a:t>Binary input objects also have tracking selection with AND, OR options. </a:t>
            </a:r>
          </a:p>
        </p:txBody>
      </p:sp>
      <p:pic>
        <p:nvPicPr>
          <p:cNvPr id="142" name="Picture 141">
            <a:extLst>
              <a:ext uri="{FF2B5EF4-FFF2-40B4-BE49-F238E27FC236}">
                <a16:creationId xmlns:a16="http://schemas.microsoft.com/office/drawing/2014/main" id="{C937E636-815F-4040-924F-C396C952A90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672227" y="5543469"/>
            <a:ext cx="361568" cy="868548"/>
          </a:xfrm>
          <a:prstGeom prst="rect">
            <a:avLst/>
          </a:prstGeom>
        </p:spPr>
      </p:pic>
      <p:sp>
        <p:nvSpPr>
          <p:cNvPr id="124" name="cdtText Box 4 Id114692">
            <a:extLst>
              <a:ext uri="{FF2B5EF4-FFF2-40B4-BE49-F238E27FC236}">
                <a16:creationId xmlns:a16="http://schemas.microsoft.com/office/drawing/2014/main" id="{1BD61363-C5B3-4C14-ADA0-707011EA0B0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159999" y="1084"/>
            <a:ext cx="10035175" cy="468000"/>
          </a:xfrm>
          <a:prstGeom prst="rect">
            <a:avLst/>
          </a:prstGeom>
          <a:gradFill>
            <a:gsLst>
              <a:gs pos="58000">
                <a:srgbClr val="00315F"/>
              </a:gs>
              <a:gs pos="6000">
                <a:srgbClr val="00022B"/>
              </a:gs>
              <a:gs pos="100000">
                <a:srgbClr val="0080B6"/>
              </a:gs>
            </a:gsLst>
            <a:lin ang="0" scaled="0"/>
          </a:gradFill>
          <a:ln>
            <a:noFill/>
          </a:ln>
          <a:effectLst/>
        </p:spPr>
        <p:txBody>
          <a:bodyPr wrap="square" lIns="143963" tIns="143963" rIns="143963" bIns="143963" numCol="1" spcCol="72000" rtlCol="0" anchor="ctr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</a:rPr>
              <a:t>Analog input objects</a:t>
            </a:r>
          </a:p>
        </p:txBody>
      </p:sp>
      <p:sp>
        <p:nvSpPr>
          <p:cNvPr id="135" name="Textfeld 337">
            <a:extLst>
              <a:ext uri="{FF2B5EF4-FFF2-40B4-BE49-F238E27FC236}">
                <a16:creationId xmlns:a16="http://schemas.microsoft.com/office/drawing/2014/main" id="{48DFA058-F143-42A5-9BF9-FC2EE7B1087C}"/>
              </a:ext>
            </a:extLst>
          </p:cNvPr>
          <p:cNvSpPr txBox="1"/>
          <p:nvPr/>
        </p:nvSpPr>
        <p:spPr>
          <a:xfrm>
            <a:off x="7619" y="3177640"/>
            <a:ext cx="2160000" cy="222249"/>
          </a:xfrm>
          <a:prstGeom prst="rect">
            <a:avLst/>
          </a:prstGeom>
          <a:solidFill>
            <a:srgbClr val="0080B6"/>
          </a:solidFill>
        </p:spPr>
        <p:txBody>
          <a:bodyPr wrap="square" lIns="54000" tIns="0" rIns="0" bIns="0" rtlCol="0" anchor="ctr" anchorCtr="0">
            <a:noAutofit/>
          </a:bodyPr>
          <a:lstStyle>
            <a:defPPr>
              <a:defRPr lang="de-DE"/>
            </a:defPPr>
            <a:lvl1pPr algn="l">
              <a:lnSpc>
                <a:spcPct val="110000"/>
              </a:lnSpc>
              <a:spcBef>
                <a:spcPts val="0"/>
              </a:spcBef>
              <a:defRPr sz="1100" b="1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r>
              <a:rPr lang="en-US" sz="1100" b="0">
                <a:latin typeface="+mj-lt"/>
              </a:rPr>
              <a:t>– </a:t>
            </a:r>
            <a:r>
              <a:rPr lang="en-US" b="0" kern="1200">
                <a:latin typeface="+mj-lt"/>
                <a:ea typeface="+mn-ea"/>
              </a:rPr>
              <a:t>Automation objects</a:t>
            </a:r>
            <a:endParaRPr lang="en-US" sz="1100" b="0" u="none" strike="noStrike" kern="1200">
              <a:effectLst/>
              <a:latin typeface="+mj-lt"/>
              <a:ea typeface="+mn-ea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BE755387-6E73-4295-B1BE-94E2F98D0AE4}"/>
              </a:ext>
            </a:extLst>
          </p:cNvPr>
          <p:cNvSpPr/>
          <p:nvPr/>
        </p:nvSpPr>
        <p:spPr bwMode="auto">
          <a:xfrm>
            <a:off x="2506503" y="2708560"/>
            <a:ext cx="2641843" cy="85682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txBody>
          <a:bodyPr wrap="square" lIns="107972" tIns="53986" rIns="107972" bIns="53986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GB" sz="1799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15" name="Picture 1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FA27668-B791-4229-AB7C-2742D6D71B6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38855" y="705085"/>
            <a:ext cx="766071" cy="580937"/>
          </a:xfrm>
          <a:prstGeom prst="rect">
            <a:avLst/>
          </a:prstGeom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0B82C7B4-6F64-45DA-A79C-78D5CBFDC4E0}"/>
              </a:ext>
            </a:extLst>
          </p:cNvPr>
          <p:cNvSpPr txBox="1"/>
          <p:nvPr/>
        </p:nvSpPr>
        <p:spPr>
          <a:xfrm>
            <a:off x="2466935" y="563360"/>
            <a:ext cx="722538" cy="12588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evice HWIO</a:t>
            </a:r>
          </a:p>
        </p:txBody>
      </p:sp>
      <p:pic>
        <p:nvPicPr>
          <p:cNvPr id="93" name="Picture 92">
            <a:extLst>
              <a:ext uri="{FF2B5EF4-FFF2-40B4-BE49-F238E27FC236}">
                <a16:creationId xmlns:a16="http://schemas.microsoft.com/office/drawing/2014/main" id="{59C87240-CEB2-4451-A0B5-3C8641185CB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29289" y="2105803"/>
            <a:ext cx="491417" cy="99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1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60A7DF81-421E-4490-8608-D85C95DEBF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70570" y="784992"/>
            <a:ext cx="4081218" cy="5586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b="1" kern="0"/>
              <a:t>Analog Output </a:t>
            </a:r>
            <a:r>
              <a:rPr lang="en-US" altLang="en-US" sz="1600" kern="0"/>
              <a:t>objects for damper and value actuators and </a:t>
            </a:r>
            <a:r>
              <a:rPr lang="en-US" altLang="en-US" sz="1600" b="1" kern="0"/>
              <a:t>Analog Value </a:t>
            </a:r>
            <a:r>
              <a:rPr lang="en-US" altLang="en-US" sz="1600" kern="0"/>
              <a:t>objects for process values</a:t>
            </a:r>
            <a:r>
              <a:rPr lang="en-US" altLang="en-US" sz="1600" b="1" kern="0"/>
              <a:t>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b="1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kern="0"/>
              <a:t>Both object types have </a:t>
            </a:r>
            <a:r>
              <a:rPr lang="en-US" altLang="en-US" sz="1600" b="1" kern="0"/>
              <a:t>priority array </a:t>
            </a:r>
            <a:r>
              <a:rPr lang="en-US" altLang="en-US" sz="1600" kern="0"/>
              <a:t>inputs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b="1" kern="0"/>
              <a:t>Analog output object </a:t>
            </a:r>
            <a:r>
              <a:rPr lang="en-US" altLang="en-US" sz="1600" kern="0"/>
              <a:t>has a tracking value reliability input, connected to the hardware IO if available on the device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kern="0"/>
              <a:t>Engineering units must be defined (e.g. percentage %)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kern="0"/>
              <a:t>Both object types support </a:t>
            </a:r>
            <a:r>
              <a:rPr lang="en-US" altLang="en-US" sz="1600" b="1" kern="0"/>
              <a:t>alarming</a:t>
            </a:r>
            <a:r>
              <a:rPr lang="en-US" altLang="en-US" sz="1600" kern="0"/>
              <a:t>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b="1" kern="0"/>
              <a:t>Default</a:t>
            </a:r>
            <a:r>
              <a:rPr lang="en-US" altLang="en-US" sz="1600" kern="0"/>
              <a:t> member, value of </a:t>
            </a:r>
            <a:r>
              <a:rPr lang="en-US" altLang="en-US" sz="1600" kern="0" err="1"/>
              <a:t>PrVal</a:t>
            </a:r>
            <a:r>
              <a:rPr lang="en-US" altLang="en-US" sz="1600" kern="0"/>
              <a:t> </a:t>
            </a:r>
            <a:r>
              <a:rPr lang="en-US" sz="1600"/>
              <a:t>when all values in the priority array have a NULL value.</a:t>
            </a:r>
            <a:endParaRPr lang="en-US" altLang="en-US" sz="1600" kern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EB7068-EDBF-4529-AA9B-7D478294D6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4327" y="843795"/>
            <a:ext cx="1684836" cy="363953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94F52A6-5AC0-4C80-9C3D-97B041B6D5F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8352" y="919700"/>
            <a:ext cx="3172295" cy="90077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98FF4D7-A3AA-4CAF-ABCC-5A36A085A96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2867" y="1952699"/>
            <a:ext cx="3172294" cy="130162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FC2D35E-A188-4815-A6D2-66086740DD2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48095" y="3403973"/>
            <a:ext cx="3184297" cy="54159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7A62FF3-2CC9-4FE8-9B92-F4DA51218DA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2610" y="4094372"/>
            <a:ext cx="3184295" cy="956599"/>
          </a:xfrm>
          <a:prstGeom prst="rect">
            <a:avLst/>
          </a:prstGeom>
        </p:spPr>
      </p:pic>
      <p:sp>
        <p:nvSpPr>
          <p:cNvPr id="37" name="cdtText Box 4 Id114692">
            <a:extLst>
              <a:ext uri="{FF2B5EF4-FFF2-40B4-BE49-F238E27FC236}">
                <a16:creationId xmlns:a16="http://schemas.microsoft.com/office/drawing/2014/main" id="{41829671-B315-4F39-926D-444B2BF15DB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159999" y="1084"/>
            <a:ext cx="10035175" cy="468000"/>
          </a:xfrm>
          <a:prstGeom prst="rect">
            <a:avLst/>
          </a:prstGeom>
          <a:gradFill>
            <a:gsLst>
              <a:gs pos="58000">
                <a:srgbClr val="00315F"/>
              </a:gs>
              <a:gs pos="6000">
                <a:srgbClr val="00022B"/>
              </a:gs>
              <a:gs pos="100000">
                <a:srgbClr val="0080B6"/>
              </a:gs>
            </a:gsLst>
            <a:lin ang="0" scaled="0"/>
          </a:gradFill>
          <a:ln>
            <a:noFill/>
          </a:ln>
          <a:effectLst/>
        </p:spPr>
        <p:txBody>
          <a:bodyPr wrap="square" lIns="143963" tIns="143963" rIns="143963" bIns="143963" numCol="1" spcCol="72000" rtlCol="0" anchor="ctr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</a:rPr>
              <a:t>Analog output and value objec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625EF4D-8B12-4D08-ADAE-1069305080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9" name="Textfeld 337">
            <a:extLst>
              <a:ext uri="{FF2B5EF4-FFF2-40B4-BE49-F238E27FC236}">
                <a16:creationId xmlns:a16="http://schemas.microsoft.com/office/drawing/2014/main" id="{0E649CE7-A18D-45D2-A011-79EFA040849B}"/>
              </a:ext>
            </a:extLst>
          </p:cNvPr>
          <p:cNvSpPr txBox="1"/>
          <p:nvPr/>
        </p:nvSpPr>
        <p:spPr>
          <a:xfrm>
            <a:off x="7619" y="3177640"/>
            <a:ext cx="2160000" cy="222249"/>
          </a:xfrm>
          <a:prstGeom prst="rect">
            <a:avLst/>
          </a:prstGeom>
          <a:solidFill>
            <a:srgbClr val="0080B6"/>
          </a:solidFill>
        </p:spPr>
        <p:txBody>
          <a:bodyPr wrap="square" lIns="54000" tIns="0" rIns="0" bIns="0" rtlCol="0" anchor="ctr" anchorCtr="0">
            <a:noAutofit/>
          </a:bodyPr>
          <a:lstStyle>
            <a:defPPr>
              <a:defRPr lang="de-DE"/>
            </a:defPPr>
            <a:lvl1pPr algn="l">
              <a:lnSpc>
                <a:spcPct val="110000"/>
              </a:lnSpc>
              <a:spcBef>
                <a:spcPts val="0"/>
              </a:spcBef>
              <a:defRPr sz="1100" b="1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r>
              <a:rPr lang="en-US" sz="1100" b="0">
                <a:latin typeface="+mj-lt"/>
              </a:rPr>
              <a:t>– </a:t>
            </a:r>
            <a:r>
              <a:rPr lang="en-US" b="0" kern="1200">
                <a:latin typeface="+mj-lt"/>
                <a:ea typeface="+mn-ea"/>
              </a:rPr>
              <a:t>Automation objects</a:t>
            </a:r>
            <a:endParaRPr lang="en-US" sz="1100" b="0" u="none" strike="noStrike" kern="1200">
              <a:effectLst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71773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noProof="0"/>
            </a:br>
            <a:endParaRPr lang="en-US" noProof="0"/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50E17820-B62F-4719-80D9-FEC26EF1D7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03971" y="710462"/>
            <a:ext cx="4049418" cy="3861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kern="0"/>
              <a:t>Are used to monitor and control equipment with </a:t>
            </a:r>
            <a:r>
              <a:rPr lang="en-US" altLang="en-US" sz="1600" b="1" kern="0"/>
              <a:t>multiple conditions</a:t>
            </a:r>
            <a:r>
              <a:rPr lang="en-US" altLang="en-US" sz="1600" kern="0"/>
              <a:t>, e.g. unit mode switch (Off/On/Auto), 3 speed fan (stage 1, 2, 3)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b="1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b="1" kern="0"/>
              <a:t>Multistate inputs, outputs and values</a:t>
            </a:r>
            <a:r>
              <a:rPr lang="en-US" altLang="en-US" sz="1600" kern="0"/>
              <a:t> 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kern="0"/>
              <a:t>An </a:t>
            </a:r>
            <a:r>
              <a:rPr lang="en-US" altLang="en-US" sz="1600" b="1" kern="0"/>
              <a:t>integer value </a:t>
            </a:r>
            <a:r>
              <a:rPr lang="en-US" altLang="en-US" sz="1600" kern="0"/>
              <a:t>represents a specific </a:t>
            </a:r>
            <a:r>
              <a:rPr lang="en-US" altLang="en-US" sz="1600" b="1" kern="0"/>
              <a:t>condition</a:t>
            </a:r>
            <a:r>
              <a:rPr lang="en-US" altLang="en-US" sz="1600" kern="0"/>
              <a:t> defined by the engineer, e.g. 1 = Off, 2 = On, 3 = Auto, 4 = </a:t>
            </a:r>
            <a:r>
              <a:rPr lang="en-US" altLang="en-US" sz="1600" kern="0" err="1"/>
              <a:t>Htg</a:t>
            </a:r>
            <a:r>
              <a:rPr lang="en-US" altLang="en-US" sz="1600" kern="0"/>
              <a:t>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kern="0"/>
              <a:t>Status text, the BACnet standard does not allow a state = 0, in SAPRO this is allowed therefore a NULL must be us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7DA220F-5BE4-4F44-A400-7193D98EF5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9169" y="918656"/>
            <a:ext cx="1911074" cy="341981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A4EFFA5-EA2E-479B-A6D1-C6F2D0933B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9382" y="4969317"/>
            <a:ext cx="3681760" cy="79285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D78C3BC-8FEE-4B4B-841E-CF0C253C8C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58514" y="2558038"/>
            <a:ext cx="2823246" cy="62059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B41AEFE-29E6-4581-99C9-94998CFB0C96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1817" y="3401686"/>
            <a:ext cx="2316142" cy="112677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9F8178CA-D14A-4624-839D-D6FC51E9028E}"/>
              </a:ext>
            </a:extLst>
          </p:cNvPr>
          <p:cNvSpPr txBox="1"/>
          <p:nvPr/>
        </p:nvSpPr>
        <p:spPr>
          <a:xfrm>
            <a:off x="9322710" y="2380344"/>
            <a:ext cx="575914" cy="2671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CH" sz="105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COPE</a:t>
            </a:r>
            <a:endParaRPr lang="en-GB" sz="1050" b="1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20F7F275-FDBF-4C2C-A9F7-807D2AFDDB15}"/>
              </a:ext>
            </a:extLst>
          </p:cNvPr>
          <p:cNvCxnSpPr/>
          <p:nvPr/>
        </p:nvCxnSpPr>
        <p:spPr bwMode="auto">
          <a:xfrm flipH="1">
            <a:off x="10546264" y="2960914"/>
            <a:ext cx="339450" cy="63389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3DC9CDBD-61C5-41B3-8C55-CD3A22CD2CE8}"/>
              </a:ext>
            </a:extLst>
          </p:cNvPr>
          <p:cNvSpPr txBox="1"/>
          <p:nvPr/>
        </p:nvSpPr>
        <p:spPr>
          <a:xfrm>
            <a:off x="6924902" y="4842655"/>
            <a:ext cx="5091558" cy="16603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200" b="1">
                <a:solidFill>
                  <a:schemeClr val="accent5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APRO	0	1	2	3	4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endParaRPr lang="de-CH" sz="1200" b="1">
              <a:solidFill>
                <a:schemeClr val="accent5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200" b="1">
                <a:solidFill>
                  <a:schemeClr val="accent5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ext	Null	Off	On	Auto	</a:t>
            </a:r>
            <a:r>
              <a:rPr lang="de-CH" sz="1200" b="1" err="1">
                <a:solidFill>
                  <a:schemeClr val="accent5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tg</a:t>
            </a:r>
            <a:endParaRPr lang="de-CH" sz="1200" b="1">
              <a:solidFill>
                <a:schemeClr val="accent5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</a:pPr>
            <a:endParaRPr lang="de-CH" sz="1200" b="1">
              <a:solidFill>
                <a:srgbClr val="879628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200" b="1" err="1">
                <a:solidFill>
                  <a:srgbClr val="879628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ACnet</a:t>
            </a:r>
            <a:r>
              <a:rPr lang="de-CH" sz="1200" b="1">
                <a:solidFill>
                  <a:srgbClr val="879628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		1	2	3	4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CH" sz="1200" b="1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2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tatus </a:t>
            </a:r>
            <a:r>
              <a:rPr lang="de-CH" sz="12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ext</a:t>
            </a:r>
            <a:r>
              <a:rPr lang="de-CH" sz="12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:    </a:t>
            </a:r>
            <a:r>
              <a:rPr lang="de-CH" sz="12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Null*</a:t>
            </a:r>
            <a:r>
              <a:rPr lang="de-CH" sz="12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ff*On*Auto*</a:t>
            </a:r>
            <a:r>
              <a:rPr lang="de-CH" sz="12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tg</a:t>
            </a:r>
            <a:endParaRPr lang="de-CH" sz="1200" b="1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12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No</a:t>
            </a:r>
            <a:r>
              <a:rPr lang="de-CH" sz="12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. </a:t>
            </a:r>
            <a:r>
              <a:rPr lang="de-CH" sz="12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f</a:t>
            </a:r>
            <a:r>
              <a:rPr lang="de-CH" sz="12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2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tates</a:t>
            </a:r>
            <a:r>
              <a:rPr lang="de-CH" sz="12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: 4 </a:t>
            </a:r>
            <a:endParaRPr lang="en-GB" sz="1200" b="1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6" name="cdtText Box 4 Id114692">
            <a:extLst>
              <a:ext uri="{FF2B5EF4-FFF2-40B4-BE49-F238E27FC236}">
                <a16:creationId xmlns:a16="http://schemas.microsoft.com/office/drawing/2014/main" id="{D4A4AF03-1B89-44D9-8943-DE3A7E1E348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159999" y="1084"/>
            <a:ext cx="10035175" cy="468000"/>
          </a:xfrm>
          <a:prstGeom prst="rect">
            <a:avLst/>
          </a:prstGeom>
          <a:gradFill>
            <a:gsLst>
              <a:gs pos="58000">
                <a:srgbClr val="00315F"/>
              </a:gs>
              <a:gs pos="6000">
                <a:srgbClr val="00022B"/>
              </a:gs>
              <a:gs pos="100000">
                <a:srgbClr val="0080B6"/>
              </a:gs>
            </a:gsLst>
            <a:lin ang="0" scaled="0"/>
          </a:gradFill>
          <a:ln>
            <a:noFill/>
          </a:ln>
          <a:effectLst/>
        </p:spPr>
        <p:txBody>
          <a:bodyPr wrap="square" lIns="143963" tIns="143963" rIns="143963" bIns="143963" numCol="1" spcCol="72000" rtlCol="0" anchor="ctr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</a:rPr>
              <a:t>Multistate objects</a:t>
            </a:r>
          </a:p>
        </p:txBody>
      </p:sp>
      <p:sp>
        <p:nvSpPr>
          <p:cNvPr id="48" name="Textfeld 337">
            <a:extLst>
              <a:ext uri="{FF2B5EF4-FFF2-40B4-BE49-F238E27FC236}">
                <a16:creationId xmlns:a16="http://schemas.microsoft.com/office/drawing/2014/main" id="{4D95B576-3564-4361-AB02-08A89684A965}"/>
              </a:ext>
            </a:extLst>
          </p:cNvPr>
          <p:cNvSpPr txBox="1"/>
          <p:nvPr/>
        </p:nvSpPr>
        <p:spPr>
          <a:xfrm>
            <a:off x="7619" y="3177640"/>
            <a:ext cx="2160000" cy="222249"/>
          </a:xfrm>
          <a:prstGeom prst="rect">
            <a:avLst/>
          </a:prstGeom>
          <a:solidFill>
            <a:srgbClr val="0080B6"/>
          </a:solidFill>
        </p:spPr>
        <p:txBody>
          <a:bodyPr wrap="square" lIns="54000" tIns="0" rIns="0" bIns="0" rtlCol="0" anchor="ctr" anchorCtr="0">
            <a:noAutofit/>
          </a:bodyPr>
          <a:lstStyle>
            <a:defPPr>
              <a:defRPr lang="de-DE"/>
            </a:defPPr>
            <a:lvl1pPr algn="l">
              <a:lnSpc>
                <a:spcPct val="110000"/>
              </a:lnSpc>
              <a:spcBef>
                <a:spcPts val="0"/>
              </a:spcBef>
              <a:defRPr sz="1100" b="1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r>
              <a:rPr lang="en-US" sz="1100" b="0">
                <a:latin typeface="+mj-lt"/>
              </a:rPr>
              <a:t>– </a:t>
            </a:r>
            <a:r>
              <a:rPr lang="en-US" b="0" kern="1200">
                <a:latin typeface="+mj-lt"/>
                <a:ea typeface="+mn-ea"/>
              </a:rPr>
              <a:t>Automation objects</a:t>
            </a:r>
            <a:endParaRPr lang="en-US" sz="1100" b="0" u="none" strike="noStrike" kern="1200">
              <a:effectLst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02286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05B36FB-837A-4DC1-B3CB-124C0F653A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7652" y="922087"/>
            <a:ext cx="1530265" cy="925309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D886C480-E861-4D36-B0ED-5B5B844F0647}"/>
              </a:ext>
            </a:extLst>
          </p:cNvPr>
          <p:cNvGrpSpPr/>
          <p:nvPr/>
        </p:nvGrpSpPr>
        <p:grpSpPr>
          <a:xfrm>
            <a:off x="6656932" y="1015214"/>
            <a:ext cx="2633506" cy="4769950"/>
            <a:chOff x="3595273" y="1484994"/>
            <a:chExt cx="2970745" cy="477119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48A9F28-BF43-4428-917D-C34E2B29AD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40930" y="1588508"/>
              <a:ext cx="2700300" cy="1069930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EDE3113-12D0-4AE4-938F-03BDC2E636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40930" y="2723272"/>
              <a:ext cx="2707220" cy="1276090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D5639906-4881-444B-ADDD-99B1E51DA85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58798" y="4108789"/>
              <a:ext cx="2707220" cy="782440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F9DA99E-7345-47CF-B9C1-43B4883D2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58798" y="5080896"/>
              <a:ext cx="2707220" cy="1080487"/>
            </a:xfrm>
            <a:prstGeom prst="rect">
              <a:avLst/>
            </a:prstGeom>
          </p:spPr>
        </p:pic>
        <p:sp>
          <p:nvSpPr>
            <p:cNvPr id="22" name="Left Brace 21">
              <a:extLst>
                <a:ext uri="{FF2B5EF4-FFF2-40B4-BE49-F238E27FC236}">
                  <a16:creationId xmlns:a16="http://schemas.microsoft.com/office/drawing/2014/main" id="{3EC5578C-FF41-4482-9990-B5030F54A28F}"/>
                </a:ext>
              </a:extLst>
            </p:cNvPr>
            <p:cNvSpPr/>
            <p:nvPr/>
          </p:nvSpPr>
          <p:spPr bwMode="auto">
            <a:xfrm>
              <a:off x="3595273" y="1484994"/>
              <a:ext cx="229071" cy="4771192"/>
            </a:xfrm>
            <a:prstGeom prst="leftBrace">
              <a:avLst>
                <a:gd name="adj1" fmla="val 64899"/>
                <a:gd name="adj2" fmla="val 39487"/>
              </a:avLst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 defTabSz="914126"/>
              <a:endParaRPr lang="en-GB" sz="2399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5F82FDA3-480E-4672-BA45-4C0E8CF94CBE}"/>
              </a:ext>
            </a:extLst>
          </p:cNvPr>
          <p:cNvGrpSpPr/>
          <p:nvPr/>
        </p:nvGrpSpPr>
        <p:grpSpPr>
          <a:xfrm>
            <a:off x="4127629" y="1819476"/>
            <a:ext cx="2617313" cy="1818850"/>
            <a:chOff x="2364698" y="3286693"/>
            <a:chExt cx="2549485" cy="157327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D496EB23-18AE-4A45-B492-2F9EA7E88A0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99815" y="3286693"/>
              <a:ext cx="1439856" cy="1139887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56F77C06-4CE1-45E2-8951-E7CB441AE730}"/>
                </a:ext>
              </a:extLst>
            </p:cNvPr>
            <p:cNvSpPr txBox="1"/>
            <p:nvPr/>
          </p:nvSpPr>
          <p:spPr>
            <a:xfrm>
              <a:off x="2364698" y="3377828"/>
              <a:ext cx="735741" cy="48364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algn="r">
                <a:lnSpc>
                  <a:spcPct val="110000"/>
                </a:lnSpc>
                <a:spcBef>
                  <a:spcPts val="0"/>
                </a:spcBef>
              </a:pPr>
              <a:r>
                <a:rPr lang="de-CH" sz="80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urser</a:t>
              </a:r>
              <a:r>
                <a:rPr lang="de-CH" sz="80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, </a:t>
              </a:r>
              <a:r>
                <a:rPr lang="de-CH" sz="80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mouse</a:t>
              </a:r>
              <a:r>
                <a:rPr lang="de-CH" sz="80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de-CH" sz="80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right</a:t>
              </a:r>
              <a:r>
                <a:rPr lang="de-CH" sz="80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de-CH" sz="80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button</a:t>
              </a:r>
              <a:r>
                <a:rPr lang="de-CH" sz="80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de-CH" sz="800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lick</a:t>
              </a:r>
              <a:r>
                <a:rPr lang="de-CH" sz="80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.</a:t>
              </a:r>
              <a:endParaRPr lang="en-GB" sz="8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3DD2B85-2643-453E-AB00-E0D4C4B49DF2}"/>
                </a:ext>
              </a:extLst>
            </p:cNvPr>
            <p:cNvSpPr txBox="1"/>
            <p:nvPr/>
          </p:nvSpPr>
          <p:spPr>
            <a:xfrm>
              <a:off x="3276953" y="4463926"/>
              <a:ext cx="1637230" cy="3960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CH" sz="800" b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elect &lt;Automation </a:t>
              </a:r>
              <a:r>
                <a:rPr lang="de-CH" sz="800" b="1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Object</a:t>
              </a:r>
              <a:r>
                <a:rPr lang="de-CH" sz="800" b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(</a:t>
              </a:r>
              <a:r>
                <a:rPr lang="de-CH" sz="800" b="1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new</a:t>
              </a:r>
              <a:r>
                <a:rPr lang="de-CH" sz="800" b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)&gt; </a:t>
              </a:r>
              <a:r>
                <a:rPr lang="de-CH" sz="800" b="1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o</a:t>
              </a:r>
              <a:r>
                <a:rPr lang="de-CH" sz="800" b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de-CH" sz="800" b="1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onfigured</a:t>
              </a:r>
              <a:r>
                <a:rPr lang="de-CH" sz="800" b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de-CH" sz="800" b="1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object</a:t>
              </a:r>
              <a:r>
                <a:rPr lang="de-CH" sz="800" b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.</a:t>
              </a:r>
              <a:endParaRPr lang="en-GB" sz="8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B35778E5-787F-4079-8BD5-C8CEFAC5FBC1}"/>
              </a:ext>
            </a:extLst>
          </p:cNvPr>
          <p:cNvSpPr txBox="1"/>
          <p:nvPr/>
        </p:nvSpPr>
        <p:spPr>
          <a:xfrm>
            <a:off x="2138280" y="908128"/>
            <a:ext cx="1045331" cy="17257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bject</a:t>
            </a: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type </a:t>
            </a: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name</a:t>
            </a:r>
            <a:endParaRPr lang="de-CH" sz="900" b="1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C8450E2-0C1B-4CD7-8FD0-CA46B5FBB1E8}"/>
              </a:ext>
            </a:extLst>
          </p:cNvPr>
          <p:cNvSpPr txBox="1"/>
          <p:nvPr/>
        </p:nvSpPr>
        <p:spPr>
          <a:xfrm>
            <a:off x="2285112" y="1188129"/>
            <a:ext cx="807173" cy="134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CH" sz="900" b="1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nstance </a:t>
            </a:r>
            <a:r>
              <a:rPr lang="de-CH" sz="900" b="1" err="1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name</a:t>
            </a:r>
            <a:endParaRPr lang="de-CH" sz="900" b="1">
              <a:solidFill>
                <a:srgbClr val="FF0000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586206B-83B6-429B-BCEE-ABDE43F47E15}"/>
              </a:ext>
            </a:extLst>
          </p:cNvPr>
          <p:cNvCxnSpPr>
            <a:cxnSpLocks/>
          </p:cNvCxnSpPr>
          <p:nvPr/>
        </p:nvCxnSpPr>
        <p:spPr bwMode="auto">
          <a:xfrm>
            <a:off x="3251625" y="1027479"/>
            <a:ext cx="202152" cy="2973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E9914E7-6C88-4991-9E1F-F39E83FF7662}"/>
              </a:ext>
            </a:extLst>
          </p:cNvPr>
          <p:cNvCxnSpPr>
            <a:cxnSpLocks/>
          </p:cNvCxnSpPr>
          <p:nvPr/>
        </p:nvCxnSpPr>
        <p:spPr bwMode="auto">
          <a:xfrm flipV="1">
            <a:off x="3198389" y="1494142"/>
            <a:ext cx="267737" cy="8646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629046A-7523-4824-8EF4-C2F44B2954DF}"/>
              </a:ext>
            </a:extLst>
          </p:cNvPr>
          <p:cNvCxnSpPr>
            <a:cxnSpLocks/>
          </p:cNvCxnSpPr>
          <p:nvPr/>
        </p:nvCxnSpPr>
        <p:spPr bwMode="auto">
          <a:xfrm flipV="1">
            <a:off x="3270363" y="1192266"/>
            <a:ext cx="217134" cy="63228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B781FE60-8495-4B0E-A3F4-F3CDD2BC7246}"/>
              </a:ext>
            </a:extLst>
          </p:cNvPr>
          <p:cNvSpPr txBox="1"/>
          <p:nvPr/>
        </p:nvSpPr>
        <p:spPr>
          <a:xfrm>
            <a:off x="2119641" y="1442285"/>
            <a:ext cx="1045331" cy="37246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nnectable</a:t>
            </a: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nputs</a:t>
            </a:r>
            <a:endParaRPr lang="de-CH" sz="900" b="1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0CC23BF-8DBC-4C72-A100-FDEC553D9A85}"/>
              </a:ext>
            </a:extLst>
          </p:cNvPr>
          <p:cNvSpPr txBox="1"/>
          <p:nvPr/>
        </p:nvSpPr>
        <p:spPr>
          <a:xfrm>
            <a:off x="5155474" y="1174001"/>
            <a:ext cx="773179" cy="3724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nnectable</a:t>
            </a: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utputs</a:t>
            </a:r>
            <a:endParaRPr lang="de-CH" sz="900" b="1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AAEA1EB0-1FCA-4158-9225-A067578AB054}"/>
              </a:ext>
            </a:extLst>
          </p:cNvPr>
          <p:cNvCxnSpPr>
            <a:cxnSpLocks/>
          </p:cNvCxnSpPr>
          <p:nvPr/>
        </p:nvCxnSpPr>
        <p:spPr bwMode="auto">
          <a:xfrm flipH="1">
            <a:off x="4917917" y="1331641"/>
            <a:ext cx="190527" cy="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A9D4F738-EE64-4D5D-8C62-405F5399DC55}"/>
              </a:ext>
            </a:extLst>
          </p:cNvPr>
          <p:cNvSpPr txBox="1"/>
          <p:nvPr/>
        </p:nvSpPr>
        <p:spPr>
          <a:xfrm>
            <a:off x="2317254" y="2602556"/>
            <a:ext cx="815502" cy="1862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COPE</a:t>
            </a:r>
          </a:p>
        </p:txBody>
      </p:sp>
      <p:sp>
        <p:nvSpPr>
          <p:cNvPr id="55" name="Rectangle 3">
            <a:extLst>
              <a:ext uri="{FF2B5EF4-FFF2-40B4-BE49-F238E27FC236}">
                <a16:creationId xmlns:a16="http://schemas.microsoft.com/office/drawing/2014/main" id="{AED34A99-C5AD-472B-8256-866329A488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09099" y="619353"/>
            <a:ext cx="2686330" cy="6185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400" kern="0"/>
              <a:t>The </a:t>
            </a:r>
            <a:r>
              <a:rPr lang="en-US" altLang="en-US" sz="1400" b="1" kern="0"/>
              <a:t>Instance name </a:t>
            </a:r>
            <a:r>
              <a:rPr lang="en-US" altLang="en-US" sz="1400" kern="0"/>
              <a:t>must be </a:t>
            </a:r>
            <a:r>
              <a:rPr lang="en-US" altLang="en-US" sz="1400" b="1" kern="0"/>
              <a:t>unique</a:t>
            </a:r>
            <a:r>
              <a:rPr lang="en-US" altLang="en-US" sz="1400" kern="0"/>
              <a:t> in the application program. 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400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400" b="1" kern="0"/>
              <a:t>Display name </a:t>
            </a:r>
            <a:r>
              <a:rPr lang="en-US" altLang="en-US" sz="1400" kern="0"/>
              <a:t>used in clients like HMI and SCOPE. Default, the instance name is used, token is </a:t>
            </a:r>
            <a:r>
              <a:rPr lang="en-US" altLang="en-US" sz="1400" b="1" kern="0"/>
              <a:t>\i#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400" b="1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400" b="1" kern="0" err="1"/>
              <a:t>Tval</a:t>
            </a:r>
            <a:r>
              <a:rPr lang="en-US" altLang="en-US" sz="1400" kern="0"/>
              <a:t> is the tracking value, i.e. the physical hardware input. </a:t>
            </a:r>
            <a:r>
              <a:rPr lang="en-US" altLang="en-US" sz="1400" b="1" kern="0" err="1"/>
              <a:t>PrVal</a:t>
            </a:r>
            <a:r>
              <a:rPr lang="en-US" altLang="en-US" sz="1400" kern="0"/>
              <a:t> is the present value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400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400" kern="0"/>
              <a:t>Many objects support intrinsic </a:t>
            </a:r>
            <a:r>
              <a:rPr lang="en-US" altLang="en-US" sz="1400" b="1" kern="0"/>
              <a:t>alarming</a:t>
            </a:r>
            <a:r>
              <a:rPr lang="en-US" altLang="en-US" sz="1400" kern="0"/>
              <a:t> that can be defined. The </a:t>
            </a:r>
            <a:r>
              <a:rPr lang="en-US" altLang="en-US" sz="1400" b="1" kern="0"/>
              <a:t>Status</a:t>
            </a:r>
            <a:r>
              <a:rPr lang="en-US" altLang="en-US" sz="1400" kern="0"/>
              <a:t> output is used for alarm functionality within the program. </a:t>
            </a:r>
            <a:r>
              <a:rPr lang="en-US" altLang="en-US" sz="1400" b="1" kern="0" err="1"/>
              <a:t>Disbl</a:t>
            </a:r>
            <a:r>
              <a:rPr lang="en-US" altLang="en-US" sz="1400" kern="0"/>
              <a:t> disables </a:t>
            </a:r>
            <a:r>
              <a:rPr lang="en-US" altLang="en-US" sz="1400" kern="0" err="1"/>
              <a:t>Offnormal</a:t>
            </a:r>
            <a:r>
              <a:rPr lang="en-US" altLang="en-US" sz="1400" kern="0"/>
              <a:t> alarms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400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400" kern="0"/>
              <a:t>In SAPRO, each object input, output and property is called a “</a:t>
            </a:r>
            <a:r>
              <a:rPr lang="en-US" altLang="en-US" sz="1400" b="1" kern="0">
                <a:solidFill>
                  <a:srgbClr val="FF0000"/>
                </a:solidFill>
              </a:rPr>
              <a:t>Member</a:t>
            </a:r>
            <a:r>
              <a:rPr lang="en-US" altLang="en-US" sz="1400" kern="0"/>
              <a:t>”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400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400" kern="0"/>
              <a:t>Each </a:t>
            </a:r>
            <a:r>
              <a:rPr lang="en-US" altLang="en-US" sz="1400" b="1" kern="0"/>
              <a:t>member</a:t>
            </a:r>
            <a:r>
              <a:rPr lang="en-US" altLang="en-US" sz="1400" kern="0"/>
              <a:t> has a </a:t>
            </a:r>
            <a:r>
              <a:rPr lang="en-US" altLang="en-US" sz="1400" b="1" kern="0"/>
              <a:t>data format </a:t>
            </a:r>
            <a:r>
              <a:rPr lang="en-US" altLang="en-US" sz="1400" kern="0"/>
              <a:t>defined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400" kern="0"/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400" kern="0"/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400" kern="0"/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987AC998-965D-4FC1-AD93-5C384591B42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1801" y="4239327"/>
            <a:ext cx="2248968" cy="1855232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05D0B78D-E48B-44E8-8BD8-7AF3EC285E08}"/>
              </a:ext>
            </a:extLst>
          </p:cNvPr>
          <p:cNvSpPr txBox="1"/>
          <p:nvPr/>
        </p:nvSpPr>
        <p:spPr>
          <a:xfrm>
            <a:off x="4518451" y="4053095"/>
            <a:ext cx="1488442" cy="1862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F1 – SAPRO </a:t>
            </a: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elp</a:t>
            </a:r>
            <a:endParaRPr lang="de-CH" sz="900" b="1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1E411DD1-9B5C-49CE-BC34-C07A47070405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2109" y="2817576"/>
            <a:ext cx="2013529" cy="3395576"/>
          </a:xfrm>
          <a:prstGeom prst="rect">
            <a:avLst/>
          </a:prstGeom>
        </p:spPr>
      </p:pic>
      <p:sp>
        <p:nvSpPr>
          <p:cNvPr id="63" name="cdtText Box 4 Id114692">
            <a:extLst>
              <a:ext uri="{FF2B5EF4-FFF2-40B4-BE49-F238E27FC236}">
                <a16:creationId xmlns:a16="http://schemas.microsoft.com/office/drawing/2014/main" id="{AC584E44-0623-40E9-9C0A-43C94EC46A3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159999" y="1084"/>
            <a:ext cx="10035175" cy="468000"/>
          </a:xfrm>
          <a:prstGeom prst="rect">
            <a:avLst/>
          </a:prstGeom>
          <a:gradFill>
            <a:gsLst>
              <a:gs pos="58000">
                <a:srgbClr val="00315F"/>
              </a:gs>
              <a:gs pos="6000">
                <a:srgbClr val="00022B"/>
              </a:gs>
              <a:gs pos="100000">
                <a:srgbClr val="0080B6"/>
              </a:gs>
            </a:gsLst>
            <a:lin ang="0" scaled="0"/>
          </a:gradFill>
          <a:ln>
            <a:noFill/>
          </a:ln>
          <a:effectLst/>
        </p:spPr>
        <p:txBody>
          <a:bodyPr wrap="square" lIns="143963" tIns="143963" rIns="143963" bIns="143963" numCol="1" spcCol="72000" rtlCol="0" anchor="ctr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</a:rPr>
              <a:t>Binary input object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3E92947-46AF-462D-8510-4BC5371DE8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5" name="Textfeld 337">
            <a:extLst>
              <a:ext uri="{FF2B5EF4-FFF2-40B4-BE49-F238E27FC236}">
                <a16:creationId xmlns:a16="http://schemas.microsoft.com/office/drawing/2014/main" id="{9AB094C7-6DAF-4B25-97FE-140ACB9C367D}"/>
              </a:ext>
            </a:extLst>
          </p:cNvPr>
          <p:cNvSpPr txBox="1"/>
          <p:nvPr/>
        </p:nvSpPr>
        <p:spPr>
          <a:xfrm>
            <a:off x="7619" y="3177640"/>
            <a:ext cx="2160000" cy="222249"/>
          </a:xfrm>
          <a:prstGeom prst="rect">
            <a:avLst/>
          </a:prstGeom>
          <a:solidFill>
            <a:srgbClr val="0080B6"/>
          </a:solidFill>
        </p:spPr>
        <p:txBody>
          <a:bodyPr wrap="square" lIns="54000" tIns="0" rIns="0" bIns="0" rtlCol="0" anchor="ctr" anchorCtr="0">
            <a:noAutofit/>
          </a:bodyPr>
          <a:lstStyle>
            <a:defPPr>
              <a:defRPr lang="de-DE"/>
            </a:defPPr>
            <a:lvl1pPr algn="l">
              <a:lnSpc>
                <a:spcPct val="110000"/>
              </a:lnSpc>
              <a:spcBef>
                <a:spcPts val="0"/>
              </a:spcBef>
              <a:defRPr sz="1100" b="1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r>
              <a:rPr lang="en-US" sz="1100" b="0">
                <a:latin typeface="+mj-lt"/>
              </a:rPr>
              <a:t>– </a:t>
            </a:r>
            <a:r>
              <a:rPr lang="en-US" b="0" kern="1200">
                <a:latin typeface="+mj-lt"/>
                <a:ea typeface="+mn-ea"/>
              </a:rPr>
              <a:t>Automation objects</a:t>
            </a:r>
            <a:endParaRPr lang="en-US" sz="1100" b="0" u="none" strike="noStrike" kern="1200">
              <a:effectLst/>
              <a:latin typeface="+mj-lt"/>
              <a:ea typeface="+mn-ea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1B08B4E-5BDB-49E5-BCE0-29DCB87F44BD}"/>
              </a:ext>
            </a:extLst>
          </p:cNvPr>
          <p:cNvCxnSpPr>
            <a:cxnSpLocks/>
          </p:cNvCxnSpPr>
          <p:nvPr/>
        </p:nvCxnSpPr>
        <p:spPr bwMode="auto">
          <a:xfrm>
            <a:off x="4793572" y="1721226"/>
            <a:ext cx="324183" cy="1127679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38231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0F1B2C26-6111-4246-94F1-9087531B1D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2617" y="841862"/>
            <a:ext cx="1766666" cy="213218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/>
            </a:br>
            <a:endParaRPr lang="en-US" noProof="0"/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50E17820-B62F-4719-80D9-FEC26EF1D7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0570" y="576587"/>
            <a:ext cx="3288967" cy="3880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b="1" kern="0"/>
              <a:t>Binary output objects</a:t>
            </a:r>
            <a:r>
              <a:rPr lang="en-US" altLang="en-US" sz="1600" kern="0"/>
              <a:t> (digital) are used to control switching outputs for fan and pumps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b="1" kern="0" err="1"/>
              <a:t>Tval</a:t>
            </a:r>
            <a:r>
              <a:rPr lang="en-US" altLang="en-US" sz="1600" b="1" kern="0"/>
              <a:t> </a:t>
            </a:r>
            <a:r>
              <a:rPr lang="en-US" altLang="en-US" sz="1600" kern="0"/>
              <a:t>is connected to a physical output, the value is determined by the priority array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b="1" kern="0" err="1"/>
              <a:t>Fback</a:t>
            </a:r>
            <a:r>
              <a:rPr lang="en-US" altLang="en-US" sz="1600" b="1" kern="0"/>
              <a:t>, </a:t>
            </a:r>
            <a:r>
              <a:rPr lang="en-US" altLang="en-US" sz="1600" kern="0"/>
              <a:t>if there is no real feedback, connect to </a:t>
            </a:r>
            <a:r>
              <a:rPr lang="en-US" altLang="en-US" sz="1600" kern="0" err="1"/>
              <a:t>Tval</a:t>
            </a:r>
            <a:r>
              <a:rPr lang="en-US" altLang="en-US" sz="1600" kern="0"/>
              <a:t>.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600" b="1" kern="0" err="1"/>
              <a:t>StateText</a:t>
            </a:r>
            <a:r>
              <a:rPr lang="en-US" altLang="en-US" sz="1600" kern="0"/>
              <a:t>, must be defined with format </a:t>
            </a:r>
            <a:r>
              <a:rPr lang="en-US" altLang="en-US" sz="1600" b="1" kern="0"/>
              <a:t>Off*On</a:t>
            </a:r>
            <a:r>
              <a:rPr lang="en-US" altLang="en-US" sz="1600" kern="0"/>
              <a:t>*Null, change text as required. 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altLang="en-US" sz="1600" kern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4CA8FE-2F2E-4469-8FD6-67794DA8077E}"/>
              </a:ext>
            </a:extLst>
          </p:cNvPr>
          <p:cNvSpPr txBox="1"/>
          <p:nvPr/>
        </p:nvSpPr>
        <p:spPr>
          <a:xfrm>
            <a:off x="2482287" y="840902"/>
            <a:ext cx="1007754" cy="15417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bject type </a:t>
            </a: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name</a:t>
            </a:r>
            <a:endParaRPr lang="de-CH" sz="900" b="1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053EA0-91CB-4D81-BB1C-4B1EE8548223}"/>
              </a:ext>
            </a:extLst>
          </p:cNvPr>
          <p:cNvSpPr txBox="1"/>
          <p:nvPr/>
        </p:nvSpPr>
        <p:spPr>
          <a:xfrm>
            <a:off x="2598478" y="1078637"/>
            <a:ext cx="910300" cy="134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CH" sz="900" b="1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nstance </a:t>
            </a:r>
            <a:r>
              <a:rPr lang="de-CH" sz="900" b="1" err="1">
                <a:solidFill>
                  <a:srgbClr val="FF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name</a:t>
            </a:r>
            <a:endParaRPr lang="de-CH" sz="900" b="1">
              <a:solidFill>
                <a:srgbClr val="FF0000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F3B5B37D-2223-4260-945B-FCB3E2DD166E}"/>
              </a:ext>
            </a:extLst>
          </p:cNvPr>
          <p:cNvCxnSpPr>
            <a:cxnSpLocks/>
          </p:cNvCxnSpPr>
          <p:nvPr/>
        </p:nvCxnSpPr>
        <p:spPr bwMode="auto">
          <a:xfrm>
            <a:off x="3538192" y="918651"/>
            <a:ext cx="312684" cy="47573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A6D2A58-F2F0-45DA-ACEA-59FD2518DF9C}"/>
              </a:ext>
            </a:extLst>
          </p:cNvPr>
          <p:cNvCxnSpPr>
            <a:cxnSpLocks/>
          </p:cNvCxnSpPr>
          <p:nvPr/>
        </p:nvCxnSpPr>
        <p:spPr bwMode="auto">
          <a:xfrm flipV="1">
            <a:off x="3569066" y="1282689"/>
            <a:ext cx="266361" cy="98512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F682995-DDA2-4D13-8F02-B2B026956B6D}"/>
              </a:ext>
            </a:extLst>
          </p:cNvPr>
          <p:cNvCxnSpPr>
            <a:cxnSpLocks/>
          </p:cNvCxnSpPr>
          <p:nvPr/>
        </p:nvCxnSpPr>
        <p:spPr bwMode="auto">
          <a:xfrm flipV="1">
            <a:off x="3570412" y="1099234"/>
            <a:ext cx="280464" cy="72548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4283284-1857-4526-8EEF-31B7C5036D7D}"/>
              </a:ext>
            </a:extLst>
          </p:cNvPr>
          <p:cNvSpPr txBox="1"/>
          <p:nvPr/>
        </p:nvSpPr>
        <p:spPr>
          <a:xfrm>
            <a:off x="2482287" y="1296930"/>
            <a:ext cx="1030845" cy="19752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sed</a:t>
            </a: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for</a:t>
            </a: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larming</a:t>
            </a:r>
            <a:endParaRPr lang="de-CH" sz="900" b="1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F7F107-4C83-4540-8CCB-1BEF909F4999}"/>
              </a:ext>
            </a:extLst>
          </p:cNvPr>
          <p:cNvSpPr txBox="1"/>
          <p:nvPr/>
        </p:nvSpPr>
        <p:spPr>
          <a:xfrm>
            <a:off x="5881861" y="1120308"/>
            <a:ext cx="1474251" cy="1862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racking </a:t>
            </a: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alue</a:t>
            </a:r>
            <a:endParaRPr lang="de-CH" sz="900" b="1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3EAAC2E-1F24-4760-B0FC-1B30E0E24719}"/>
              </a:ext>
            </a:extLst>
          </p:cNvPr>
          <p:cNvCxnSpPr>
            <a:cxnSpLocks/>
          </p:cNvCxnSpPr>
          <p:nvPr/>
        </p:nvCxnSpPr>
        <p:spPr bwMode="auto">
          <a:xfrm flipH="1">
            <a:off x="5511721" y="1213365"/>
            <a:ext cx="275664" cy="27427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4E5493B-774E-4659-8DFE-E5D6D62E84C6}"/>
              </a:ext>
            </a:extLst>
          </p:cNvPr>
          <p:cNvCxnSpPr>
            <a:cxnSpLocks/>
          </p:cNvCxnSpPr>
          <p:nvPr/>
        </p:nvCxnSpPr>
        <p:spPr bwMode="auto">
          <a:xfrm flipH="1">
            <a:off x="5536402" y="1381201"/>
            <a:ext cx="266433" cy="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58E8DA3B-38E2-4BB5-B434-86F6D3C96548}"/>
              </a:ext>
            </a:extLst>
          </p:cNvPr>
          <p:cNvSpPr txBox="1"/>
          <p:nvPr/>
        </p:nvSpPr>
        <p:spPr>
          <a:xfrm>
            <a:off x="5897310" y="1308218"/>
            <a:ext cx="1043513" cy="1862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larm </a:t>
            </a: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andling</a:t>
            </a:r>
            <a:endParaRPr lang="de-CH" sz="900" b="1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3DAB4043-CDCC-4CD6-B61C-EC1B4206FEEA}"/>
              </a:ext>
            </a:extLst>
          </p:cNvPr>
          <p:cNvCxnSpPr>
            <a:cxnSpLocks/>
            <a:stCxn id="28" idx="1"/>
          </p:cNvCxnSpPr>
          <p:nvPr/>
        </p:nvCxnSpPr>
        <p:spPr bwMode="auto">
          <a:xfrm flipH="1">
            <a:off x="5497863" y="904649"/>
            <a:ext cx="349881" cy="80203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C15F08BF-97D3-4262-A408-F010451A09E9}"/>
              </a:ext>
            </a:extLst>
          </p:cNvPr>
          <p:cNvSpPr txBox="1"/>
          <p:nvPr/>
        </p:nvSpPr>
        <p:spPr>
          <a:xfrm>
            <a:off x="5847744" y="811533"/>
            <a:ext cx="1474251" cy="1862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ccess </a:t>
            </a: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o</a:t>
            </a: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all </a:t>
            </a: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embers</a:t>
            </a:r>
            <a:endParaRPr lang="de-CH" sz="900" b="1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C7BC591-A8E2-4AAB-927A-2E5D4332B23C}"/>
              </a:ext>
            </a:extLst>
          </p:cNvPr>
          <p:cNvSpPr/>
          <p:nvPr/>
        </p:nvSpPr>
        <p:spPr bwMode="auto">
          <a:xfrm>
            <a:off x="3850876" y="1948593"/>
            <a:ext cx="998515" cy="287957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txBody>
          <a:bodyPr wrap="square" lIns="107972" tIns="53986" rIns="107972" bIns="53986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GB" sz="1799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05DD01A-836B-436F-8FBE-E87C1F97F3EA}"/>
              </a:ext>
            </a:extLst>
          </p:cNvPr>
          <p:cNvSpPr txBox="1"/>
          <p:nvPr/>
        </p:nvSpPr>
        <p:spPr>
          <a:xfrm>
            <a:off x="2245259" y="1625019"/>
            <a:ext cx="1339256" cy="83778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ach</a:t>
            </a: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nput</a:t>
            </a: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as</a:t>
            </a: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a </a:t>
            </a: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alue</a:t>
            </a: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and </a:t>
            </a: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nable</a:t>
            </a: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</a:p>
          <a:p>
            <a:pPr algn="r">
              <a:lnSpc>
                <a:spcPct val="110000"/>
              </a:lnSpc>
              <a:spcBef>
                <a:spcPts val="0"/>
              </a:spcBef>
            </a:pPr>
            <a:endParaRPr lang="de-CH" sz="900" b="1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5 </a:t>
            </a: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nputs</a:t>
            </a: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re</a:t>
            </a: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vailable</a:t>
            </a: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on </a:t>
            </a: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e</a:t>
            </a: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900" b="1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bject</a:t>
            </a: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67D22868-5D50-4228-803C-00B2268CE563}"/>
              </a:ext>
            </a:extLst>
          </p:cNvPr>
          <p:cNvCxnSpPr>
            <a:cxnSpLocks/>
          </p:cNvCxnSpPr>
          <p:nvPr/>
        </p:nvCxnSpPr>
        <p:spPr bwMode="auto">
          <a:xfrm>
            <a:off x="3632774" y="1804615"/>
            <a:ext cx="172836" cy="244983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2" name="Group 41">
            <a:extLst>
              <a:ext uri="{FF2B5EF4-FFF2-40B4-BE49-F238E27FC236}">
                <a16:creationId xmlns:a16="http://schemas.microsoft.com/office/drawing/2014/main" id="{F096EAFC-BAC6-421E-BE7E-79F733868E46}"/>
              </a:ext>
            </a:extLst>
          </p:cNvPr>
          <p:cNvGrpSpPr/>
          <p:nvPr/>
        </p:nvGrpSpPr>
        <p:grpSpPr>
          <a:xfrm>
            <a:off x="5466785" y="2049598"/>
            <a:ext cx="3048303" cy="3966105"/>
            <a:chOff x="3589657" y="2398402"/>
            <a:chExt cx="3049097" cy="3967137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1EDF9B57-CFC3-485C-AA7F-DBB94AF6D02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16949" y="2507119"/>
              <a:ext cx="2821805" cy="878356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53A7061D-0DB8-4F98-8077-DF06B3AB7CF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816949" y="3488478"/>
              <a:ext cx="2821805" cy="1044866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E7A94028-653A-4DA7-91E5-12B2FC6E78F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816949" y="4667699"/>
              <a:ext cx="2821805" cy="604198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7DC811CE-63C9-42F5-B447-E76EC9CDC1C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816949" y="5406252"/>
              <a:ext cx="2494145" cy="959287"/>
            </a:xfrm>
            <a:prstGeom prst="rect">
              <a:avLst/>
            </a:prstGeom>
          </p:spPr>
        </p:pic>
        <p:sp>
          <p:nvSpPr>
            <p:cNvPr id="41" name="Left Brace 40">
              <a:extLst>
                <a:ext uri="{FF2B5EF4-FFF2-40B4-BE49-F238E27FC236}">
                  <a16:creationId xmlns:a16="http://schemas.microsoft.com/office/drawing/2014/main" id="{6E8939D0-C70F-4E7C-BD7E-92A7FF2E7DB5}"/>
                </a:ext>
              </a:extLst>
            </p:cNvPr>
            <p:cNvSpPr/>
            <p:nvPr/>
          </p:nvSpPr>
          <p:spPr bwMode="auto">
            <a:xfrm>
              <a:off x="3589657" y="2398402"/>
              <a:ext cx="204287" cy="3939701"/>
            </a:xfrm>
            <a:prstGeom prst="leftBrace">
              <a:avLst>
                <a:gd name="adj1" fmla="val 64899"/>
                <a:gd name="adj2" fmla="val 19220"/>
              </a:avLst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l" defTabSz="914126"/>
              <a:endParaRPr lang="en-GB" sz="2399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95DD68FA-E9BF-4017-8646-D77E48938C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67360" y="3440977"/>
            <a:ext cx="2095998" cy="2776339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D9B58BD3-109D-46CC-956F-4EC54431496F}"/>
              </a:ext>
            </a:extLst>
          </p:cNvPr>
          <p:cNvSpPr txBox="1"/>
          <p:nvPr/>
        </p:nvSpPr>
        <p:spPr>
          <a:xfrm>
            <a:off x="2167619" y="3288764"/>
            <a:ext cx="919693" cy="1862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COP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5F12D62-5594-4DE0-95E6-B853B96CF34A}"/>
              </a:ext>
            </a:extLst>
          </p:cNvPr>
          <p:cNvSpPr txBox="1"/>
          <p:nvPr/>
        </p:nvSpPr>
        <p:spPr>
          <a:xfrm>
            <a:off x="5795753" y="1998194"/>
            <a:ext cx="2137592" cy="1862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utomation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bject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(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new</a:t>
            </a:r>
            <a:r>
              <a:rPr lang="de-CH" sz="90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) - </a:t>
            </a:r>
            <a:r>
              <a:rPr lang="de-CH" sz="90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ptions</a:t>
            </a:r>
            <a:endParaRPr lang="de-CH" sz="90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AA90227-B4AC-4446-8F1B-D0556084F54A}"/>
              </a:ext>
            </a:extLst>
          </p:cNvPr>
          <p:cNvGrpSpPr/>
          <p:nvPr/>
        </p:nvGrpSpPr>
        <p:grpSpPr>
          <a:xfrm>
            <a:off x="8840570" y="4464713"/>
            <a:ext cx="3161408" cy="2207691"/>
            <a:chOff x="6832078" y="4678947"/>
            <a:chExt cx="2875801" cy="2041568"/>
          </a:xfrm>
        </p:grpSpPr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7221DC5E-7BCD-44C9-A96C-FA46DD68677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34756" y="4823461"/>
              <a:ext cx="2673123" cy="1897054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7CE23AA9-5739-4975-B432-A3346994D36C}"/>
                </a:ext>
              </a:extLst>
            </p:cNvPr>
            <p:cNvSpPr txBox="1"/>
            <p:nvPr/>
          </p:nvSpPr>
          <p:spPr>
            <a:xfrm>
              <a:off x="7034756" y="4678947"/>
              <a:ext cx="1994943" cy="14451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de-CH" sz="900" b="1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riority</a:t>
              </a:r>
              <a:r>
                <a:rPr lang="de-CH" sz="900" b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</a:t>
              </a:r>
              <a:r>
                <a:rPr lang="de-CH" sz="900" b="1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array</a:t>
              </a:r>
              <a:r>
                <a:rPr lang="de-CH" sz="900" b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– BACnet </a:t>
              </a:r>
              <a:r>
                <a:rPr lang="de-CH" sz="900" b="1" err="1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tandard</a:t>
              </a:r>
              <a:endParaRPr lang="de-CH" sz="900" b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A01E49E5-93EB-499A-ABD5-38D2E33793F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835140" y="4914900"/>
              <a:ext cx="191996" cy="0"/>
            </a:xfrm>
            <a:prstGeom prst="straightConnector1">
              <a:avLst/>
            </a:prstGeom>
            <a:solidFill>
              <a:schemeClr val="tx2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D3BF2225-3988-4527-9276-157380CCD14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835140" y="5249037"/>
              <a:ext cx="191996" cy="0"/>
            </a:xfrm>
            <a:prstGeom prst="straightConnector1">
              <a:avLst/>
            </a:prstGeom>
            <a:solidFill>
              <a:schemeClr val="tx2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5CD7AA84-D3DB-4C93-A6CD-3670BD21B71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832078" y="5478780"/>
              <a:ext cx="191996" cy="0"/>
            </a:xfrm>
            <a:prstGeom prst="straightConnector1">
              <a:avLst/>
            </a:prstGeom>
            <a:solidFill>
              <a:schemeClr val="tx2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82609D98-A943-4A94-8161-84CB2D61033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835140" y="5593080"/>
              <a:ext cx="191996" cy="0"/>
            </a:xfrm>
            <a:prstGeom prst="straightConnector1">
              <a:avLst/>
            </a:prstGeom>
            <a:solidFill>
              <a:schemeClr val="tx2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Straight Arrow Connector 56">
              <a:extLst>
                <a:ext uri="{FF2B5EF4-FFF2-40B4-BE49-F238E27FC236}">
                  <a16:creationId xmlns:a16="http://schemas.microsoft.com/office/drawing/2014/main" id="{795A8F5A-1111-4189-B431-0771E12FBAC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832078" y="6514721"/>
              <a:ext cx="191996" cy="0"/>
            </a:xfrm>
            <a:prstGeom prst="straightConnector1">
              <a:avLst/>
            </a:prstGeom>
            <a:solidFill>
              <a:schemeClr val="tx2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Straight Arrow Connector 57">
              <a:extLst>
                <a:ext uri="{FF2B5EF4-FFF2-40B4-BE49-F238E27FC236}">
                  <a16:creationId xmlns:a16="http://schemas.microsoft.com/office/drawing/2014/main" id="{3B01ACB7-0F1F-4B28-86EC-03EF8657818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832078" y="6629400"/>
              <a:ext cx="191996" cy="0"/>
            </a:xfrm>
            <a:prstGeom prst="straightConnector1">
              <a:avLst/>
            </a:prstGeom>
            <a:solidFill>
              <a:schemeClr val="tx2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78" name="cdtText Box 4 Id114692">
            <a:extLst>
              <a:ext uri="{FF2B5EF4-FFF2-40B4-BE49-F238E27FC236}">
                <a16:creationId xmlns:a16="http://schemas.microsoft.com/office/drawing/2014/main" id="{4DD5E6A6-4EC4-451D-BF52-ECC3BB5942C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159999" y="1084"/>
            <a:ext cx="10035175" cy="468000"/>
          </a:xfrm>
          <a:prstGeom prst="rect">
            <a:avLst/>
          </a:prstGeom>
          <a:gradFill>
            <a:gsLst>
              <a:gs pos="58000">
                <a:srgbClr val="00315F"/>
              </a:gs>
              <a:gs pos="6000">
                <a:srgbClr val="00022B"/>
              </a:gs>
              <a:gs pos="100000">
                <a:srgbClr val="0080B6"/>
              </a:gs>
            </a:gsLst>
            <a:lin ang="0" scaled="0"/>
          </a:gradFill>
          <a:ln>
            <a:noFill/>
          </a:ln>
          <a:effectLst/>
        </p:spPr>
        <p:txBody>
          <a:bodyPr wrap="square" lIns="143963" tIns="143963" rIns="143963" bIns="143963" numCol="1" spcCol="72000" rtlCol="0" anchor="ctr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pPr algn="l">
              <a:lnSpc>
                <a:spcPct val="100000"/>
              </a:lnSpc>
            </a:pPr>
            <a:r>
              <a:rPr lang="en-US" sz="1600">
                <a:solidFill>
                  <a:schemeClr val="bg1"/>
                </a:solidFill>
              </a:rPr>
              <a:t>Binary output objects</a:t>
            </a:r>
          </a:p>
        </p:txBody>
      </p:sp>
      <p:sp>
        <p:nvSpPr>
          <p:cNvPr id="80" name="Textfeld 337">
            <a:extLst>
              <a:ext uri="{FF2B5EF4-FFF2-40B4-BE49-F238E27FC236}">
                <a16:creationId xmlns:a16="http://schemas.microsoft.com/office/drawing/2014/main" id="{BCCBD6DD-DD54-4944-856D-4CF9046EC303}"/>
              </a:ext>
            </a:extLst>
          </p:cNvPr>
          <p:cNvSpPr txBox="1"/>
          <p:nvPr/>
        </p:nvSpPr>
        <p:spPr>
          <a:xfrm>
            <a:off x="7619" y="3177640"/>
            <a:ext cx="2160000" cy="222249"/>
          </a:xfrm>
          <a:prstGeom prst="rect">
            <a:avLst/>
          </a:prstGeom>
          <a:solidFill>
            <a:srgbClr val="0080B6"/>
          </a:solidFill>
        </p:spPr>
        <p:txBody>
          <a:bodyPr wrap="square" lIns="54000" tIns="0" rIns="0" bIns="0" rtlCol="0" anchor="ctr" anchorCtr="0">
            <a:noAutofit/>
          </a:bodyPr>
          <a:lstStyle>
            <a:defPPr>
              <a:defRPr lang="de-DE"/>
            </a:defPPr>
            <a:lvl1pPr algn="l">
              <a:lnSpc>
                <a:spcPct val="110000"/>
              </a:lnSpc>
              <a:spcBef>
                <a:spcPts val="0"/>
              </a:spcBef>
              <a:defRPr sz="1100" b="1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r>
              <a:rPr lang="en-US" sz="1100" b="0">
                <a:latin typeface="+mj-lt"/>
              </a:rPr>
              <a:t>– </a:t>
            </a:r>
            <a:r>
              <a:rPr lang="en-US" b="0" kern="1200">
                <a:latin typeface="+mj-lt"/>
                <a:ea typeface="+mn-ea"/>
              </a:rPr>
              <a:t>Automation objects</a:t>
            </a:r>
            <a:endParaRPr lang="en-US" sz="1100" b="0" u="none" strike="noStrike" kern="1200">
              <a:effectLst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15247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CUSTOMER" val="Siemens_I_2013"/>
  <p:tag name="CDT_CUSTOMER_NAME" val="Siemens AG, Industry Sector"/>
  <p:tag name="CDT_VERSION" val="4.1.2.0"/>
  <p:tag name="CDT_CREATORVERSION" val="4.1.2.0"/>
  <p:tag name="CDT_TEMPLATEVERSION" val="2.0.0"/>
  <p:tag name="CDT_LANGUAGE" val="1033"/>
  <p:tag name="CDT_FONTSET" val="Arial"/>
  <p:tag name="EE4P_STYLE" val="Siemens 4:3"/>
  <p:tag name="TAG_BACKING_FORM_KEY" val="202716-g:\19_e-learning_projects\40_cerberus_pro_ul\01_virtual_classroom\03_script&amp;design voice\15\15.15.pptx"/>
  <p:tag name="ARTICULATE_PRESENTER_VERSION" val="7"/>
  <p:tag name="ARTICULATE_USED_PAGE_ORIENTATION" val="1"/>
  <p:tag name="ARTICULATE_USED_PAGE_SIZE" val="7"/>
  <p:tag name="ARTICULATE_DESIGN_ID_BLANK" val="t1T2KWuF"/>
  <p:tag name="ARTICULATE_PROJECT_OPEN" val="0"/>
  <p:tag name="EE4P_STYLE_ID" val="040887b0-086c-4ff4-2016-b5b55c2754ed"/>
  <p:tag name="ARTICULATE_SLIDE_COUNT" val="18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PTAGGERGROUP" val="2"/>
  <p:tag name="PPWINTOTALSEGMENTS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PTAGGERGROUP" val="2"/>
  <p:tag name="PPWINSEGMENT1START" val="1"/>
  <p:tag name="PPWINSEGMENT1LENGTH" val="4"/>
  <p:tag name="PPWINTOTALSEGMENTS" val="1"/>
  <p:tag name="PPWINSEGMENT1SOURCERTF" val="{\rtf1\ansi\deff0{\fonttbl{\f0\fcharset0 Siemens Sans;}}{\colortbl\red0\green0\blue0;}{\f0\fs32\cf0 KP =\par}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PTAGGERGROUP" val="2"/>
  <p:tag name="PPWINTOTALSEGMENTS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PTAGGERGROUP" val="2,3"/>
  <p:tag name="PPWINTOTALSEGMENTS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PTAGGERGROUP" val="2,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PTAGGERGROUP" val="2,3"/>
  <p:tag name="PPWINTOTALSEGMENTS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PTAGGERGROUP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PTAGGERGROUP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PTAGGERGROUP" val="2"/>
  <p:tag name="PPWINTOTALSEGMENTS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PTAGGERGROUP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PTAGGERGROUP" val="2"/>
  <p:tag name="PPWINTOTALSEGMENTS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PTAGGERGROUP" val="2"/>
  <p:tag name="PPWINTOTALSEGMENTS" val="0"/>
</p:tagLst>
</file>

<file path=ppt/theme/theme1.xml><?xml version="1.0" encoding="utf-8"?>
<a:theme xmlns:a="http://schemas.openxmlformats.org/drawingml/2006/main" name="blank">
  <a:themeElements>
    <a:clrScheme name="Siemens AG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PPT 2007 DEU">
      <a:majorFont>
        <a:latin typeface=""/>
        <a:ea typeface="ＭＳ Ｐゴシック"/>
        <a:cs typeface=""/>
      </a:majorFont>
      <a:minorFont>
        <a:latin typeface="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>
            <a:lumMod val="50000"/>
          </a:scheme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36000" bIns="54000" numCol="1" spcCol="72000" rtlCol="0" anchor="ctr">
        <a:noAutofit/>
      </a:bodyPr>
      <a:lstStyle>
        <a:defPPr algn="l">
          <a:lnSpc>
            <a:spcPct val="110000"/>
          </a:lnSpc>
          <a:spcBef>
            <a:spcPct val="0"/>
          </a:spcBef>
          <a:defRPr dirty="0">
            <a:solidFill>
              <a:schemeClr val="bg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1_Two rows</Name>
  <PpLayout>32</PpLayout>
  <Index>14</Index>
</p4ppTags>
</file>

<file path=customXml/item10.xml><?xml version="1.0" encoding="utf-8"?>
<VariableListDefinition name="AD_HOC" displayName="AD_HOC" id="db51dfa1-fe2d-4a5c-b3d5-900df0afe8ba" isdomainofvalue="False" dataSourceId="b0bac3c1-b699-4af3-8dc8-2ca3802a2340"/>
</file>

<file path=customXml/item2.xml><?xml version="1.0" encoding="utf-8"?>
<p4ppTags>
  <Name>Title (big bar down)</Name>
  <PpLayout>1</PpLayout>
  <Index>1</Index>
</p4ppTags>
</file>

<file path=customXml/item3.xml><?xml version="1.0" encoding="utf-8"?>
<VariableList UniqueId="0d34fe06-40f3-4e70-b928-f4fd32271296" Name="System" ContentType="XML" MajorVersion="0" MinorVersion="1" isLocalCopy="False" IsBaseObject="False" DataSourceId="1c807371-650e-4847-a528-48b8e4171f6c" DataSourceMajorVersion="0" DataSourceMinorVersion="1"/>
</file>

<file path=customXml/item4.xml><?xml version="1.0" encoding="utf-8"?>
<VariableListDefinition name="Computed" displayName="Computed" id="e0e75796-603f-4c30-ab87-4e252269ca15" isdomainofvalue="False" dataSourceId="7508c306-5007-408f-827e-fbd5c67c967b"/>
</file>

<file path=customXml/item5.xml><?xml version="1.0" encoding="utf-8"?>
<VariableList UniqueId="db51dfa1-fe2d-4a5c-b3d5-900df0afe8ba" Name="AD_HOC" ContentType="XML" MajorVersion="0" MinorVersion="1" isLocalCopy="False" IsBaseObject="False" DataSourceId="b0bac3c1-b699-4af3-8dc8-2ca3802a2340" DataSourceMajorVersion="0" DataSourceMinorVersion="1"/>
</file>

<file path=customXml/item6.xml><?xml version="1.0" encoding="utf-8"?>
<AllExternalAdhocVariableMappings/>
</file>

<file path=customXml/item7.xml><?xml version="1.0" encoding="utf-8"?>
<p4ppTags/>
</file>

<file path=customXml/item8.xml><?xml version="1.0" encoding="utf-8"?>
<VariableListDefinition name="System" displayName="System" id="0d34fe06-40f3-4e70-b928-f4fd32271296" isdomainofvalue="False" dataSourceId="1c807371-650e-4847-a528-48b8e4171f6c"/>
</file>

<file path=customXml/item9.xml><?xml version="1.0" encoding="utf-8"?>
<VariableList UniqueId="e0e75796-603f-4c30-ab87-4e252269ca15" Name="Computed" ContentType="XML" MajorVersion="0" MinorVersion="1" isLocalCopy="False" IsBaseObject="False" DataSourceId="7508c306-5007-408f-827e-fbd5c67c967b" DataSourceMajorVersion="0" DataSourceMinorVersion="1"/>
</file>

<file path=customXml/itemProps1.xml><?xml version="1.0" encoding="utf-8"?>
<ds:datastoreItem xmlns:ds="http://schemas.openxmlformats.org/officeDocument/2006/customXml" ds:itemID="{9C85B323-8697-4319-B012-CB7EF0B99A9B}">
  <ds:schemaRefs/>
</ds:datastoreItem>
</file>

<file path=customXml/itemProps10.xml><?xml version="1.0" encoding="utf-8"?>
<ds:datastoreItem xmlns:ds="http://schemas.openxmlformats.org/officeDocument/2006/customXml" ds:itemID="{D356FF11-3188-406A-81B3-72A203877DC1}">
  <ds:schemaRefs/>
</ds:datastoreItem>
</file>

<file path=customXml/itemProps2.xml><?xml version="1.0" encoding="utf-8"?>
<ds:datastoreItem xmlns:ds="http://schemas.openxmlformats.org/officeDocument/2006/customXml" ds:itemID="{A5111100-98EE-4A20-AE7B-BF136EFD1435}">
  <ds:schemaRefs/>
</ds:datastoreItem>
</file>

<file path=customXml/itemProps3.xml><?xml version="1.0" encoding="utf-8"?>
<ds:datastoreItem xmlns:ds="http://schemas.openxmlformats.org/officeDocument/2006/customXml" ds:itemID="{7D8A91CB-FF7E-44C5-8AE2-890CEA030576}">
  <ds:schemaRefs/>
</ds:datastoreItem>
</file>

<file path=customXml/itemProps4.xml><?xml version="1.0" encoding="utf-8"?>
<ds:datastoreItem xmlns:ds="http://schemas.openxmlformats.org/officeDocument/2006/customXml" ds:itemID="{B821C410-C7CC-46DC-A2E3-D504DF45562C}">
  <ds:schemaRefs/>
</ds:datastoreItem>
</file>

<file path=customXml/itemProps5.xml><?xml version="1.0" encoding="utf-8"?>
<ds:datastoreItem xmlns:ds="http://schemas.openxmlformats.org/officeDocument/2006/customXml" ds:itemID="{EF472768-5210-45E2-8FE7-37D6FF3B4384}">
  <ds:schemaRefs/>
</ds:datastoreItem>
</file>

<file path=customXml/itemProps6.xml><?xml version="1.0" encoding="utf-8"?>
<ds:datastoreItem xmlns:ds="http://schemas.openxmlformats.org/officeDocument/2006/customXml" ds:itemID="{36312D4C-FD76-4270-8B0A-6990CC573F9B}">
  <ds:schemaRefs/>
</ds:datastoreItem>
</file>

<file path=customXml/itemProps7.xml><?xml version="1.0" encoding="utf-8"?>
<ds:datastoreItem xmlns:ds="http://schemas.openxmlformats.org/officeDocument/2006/customXml" ds:itemID="{EB8A4E2E-2B8F-4B71-A368-F18362B0C85F}">
  <ds:schemaRefs/>
</ds:datastoreItem>
</file>

<file path=customXml/itemProps8.xml><?xml version="1.0" encoding="utf-8"?>
<ds:datastoreItem xmlns:ds="http://schemas.openxmlformats.org/officeDocument/2006/customXml" ds:itemID="{51C236A3-CAF0-454D-B407-BAA0CC85FAB2}">
  <ds:schemaRefs/>
</ds:datastoreItem>
</file>

<file path=customXml/itemProps9.xml><?xml version="1.0" encoding="utf-8"?>
<ds:datastoreItem xmlns:ds="http://schemas.openxmlformats.org/officeDocument/2006/customXml" ds:itemID="{5F93C807-924A-4040-A6A2-1A6C639B1055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736</Words>
  <Application>Microsoft Office PowerPoint</Application>
  <PresentationFormat>Benutzerdefiniert</PresentationFormat>
  <Paragraphs>367</Paragraphs>
  <Slides>14</Slides>
  <Notes>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9" baseType="lpstr">
      <vt:lpstr>Arial</vt:lpstr>
      <vt:lpstr>Siemens Sans</vt:lpstr>
      <vt:lpstr>Siemens Sans SC Black</vt:lpstr>
      <vt:lpstr>Wingdings</vt:lpstr>
      <vt:lpstr>blank</vt:lpstr>
      <vt:lpstr> </vt:lpstr>
      <vt:lpstr> </vt:lpstr>
      <vt:lpstr> </vt:lpstr>
      <vt:lpstr> </vt:lpstr>
      <vt:lpstr> </vt:lpstr>
      <vt:lpstr>PowerPoint-Präsentation</vt:lpstr>
      <vt:lpstr> </vt:lpstr>
      <vt:lpstr>PowerPoint-Präsentation</vt:lpstr>
      <vt:lpstr> </vt:lpstr>
      <vt:lpstr> </vt:lpstr>
      <vt:lpstr>PowerPoint-Präsentation</vt:lpstr>
      <vt:lpstr> </vt:lpstr>
      <vt:lpstr> </vt:lpstr>
      <vt:lpstr>PowerPoint-Präsent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ullerku</dc:creator>
  <cp:keywords>C_Unrestricted</cp:keywords>
  <cp:lastModifiedBy>Müller, Kurt (SI BP S TSS ACD)</cp:lastModifiedBy>
  <cp:revision>1</cp:revision>
  <cp:lastPrinted>2019-08-14T07:25:41Z</cp:lastPrinted>
  <dcterms:created xsi:type="dcterms:W3CDTF">2015-06-16T08:40:55Z</dcterms:created>
  <dcterms:modified xsi:type="dcterms:W3CDTF">2021-11-26T10:36:07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March 2013</vt:lpwstr>
  </property>
  <property fmtid="{D5CDD505-2E9C-101B-9397-08002B2CF9AE}" pid="4" name="Office version">
    <vt:lpwstr>2007/2010</vt:lpwstr>
  </property>
  <property fmtid="{D5CDD505-2E9C-101B-9397-08002B2CF9AE}" pid="5" name="Release version">
    <vt:lpwstr>2.0.0</vt:lpwstr>
  </property>
  <property fmtid="{D5CDD505-2E9C-101B-9397-08002B2CF9AE}" pid="6" name="ArticulateGUID">
    <vt:lpwstr>06888F11-5E90-481D-8FD1-D75AB47D3761</vt:lpwstr>
  </property>
  <property fmtid="{D5CDD505-2E9C-101B-9397-08002B2CF9AE}" pid="7" name="ArticulatePath">
    <vt:lpwstr>3.02</vt:lpwstr>
  </property>
  <property fmtid="{D5CDD505-2E9C-101B-9397-08002B2CF9AE}" pid="8" name="ArticulateProjectVersion">
    <vt:lpwstr>7</vt:lpwstr>
  </property>
  <property fmtid="{D5CDD505-2E9C-101B-9397-08002B2CF9AE}" pid="9" name="ArticulateUseProject">
    <vt:lpwstr>1</vt:lpwstr>
  </property>
  <property fmtid="{D5CDD505-2E9C-101B-9397-08002B2CF9AE}" pid="10" name="ArticulateProjectFull">
    <vt:lpwstr>G:\19_e-Learning_Projects\40_Cerberus_PRO_UL\01_Virtual_Classroom\03_Script&amp;Design Voice\15\15.15.ppta</vt:lpwstr>
  </property>
  <property fmtid="{D5CDD505-2E9C-101B-9397-08002B2CF9AE}" pid="11" name="Document Confidentiality">
    <vt:lpwstr>Unrestricted</vt:lpwstr>
  </property>
  <property fmtid="{D5CDD505-2E9C-101B-9397-08002B2CF9AE}" pid="12" name="sodocoClasLang">
    <vt:lpwstr>Unrestricted</vt:lpwstr>
  </property>
  <property fmtid="{D5CDD505-2E9C-101B-9397-08002B2CF9AE}" pid="13" name="sodocoClasLangId">
    <vt:i4>0</vt:i4>
  </property>
  <property fmtid="{D5CDD505-2E9C-101B-9397-08002B2CF9AE}" pid="14" name="sodocoClasId">
    <vt:i4>0</vt:i4>
  </property>
  <property fmtid="{D5CDD505-2E9C-101B-9397-08002B2CF9AE}" pid="15" name="MSIP_Label_6f75f480-7803-4ee9-bb54-84d0635fdbe7_Enabled">
    <vt:lpwstr>true</vt:lpwstr>
  </property>
  <property fmtid="{D5CDD505-2E9C-101B-9397-08002B2CF9AE}" pid="16" name="MSIP_Label_6f75f480-7803-4ee9-bb54-84d0635fdbe7_SetDate">
    <vt:lpwstr>2021-05-07T08:49:50Z</vt:lpwstr>
  </property>
  <property fmtid="{D5CDD505-2E9C-101B-9397-08002B2CF9AE}" pid="17" name="MSIP_Label_6f75f480-7803-4ee9-bb54-84d0635fdbe7_Method">
    <vt:lpwstr>Standard</vt:lpwstr>
  </property>
  <property fmtid="{D5CDD505-2E9C-101B-9397-08002B2CF9AE}" pid="18" name="MSIP_Label_6f75f480-7803-4ee9-bb54-84d0635fdbe7_Name">
    <vt:lpwstr>unrestricted</vt:lpwstr>
  </property>
  <property fmtid="{D5CDD505-2E9C-101B-9397-08002B2CF9AE}" pid="19" name="MSIP_Label_6f75f480-7803-4ee9-bb54-84d0635fdbe7_SiteId">
    <vt:lpwstr>38ae3bcd-9579-4fd4-adda-b42e1495d55a</vt:lpwstr>
  </property>
  <property fmtid="{D5CDD505-2E9C-101B-9397-08002B2CF9AE}" pid="20" name="MSIP_Label_6f75f480-7803-4ee9-bb54-84d0635fdbe7_ActionId">
    <vt:lpwstr>36871616-267b-4bc1-b8b4-eef157d4b72d</vt:lpwstr>
  </property>
  <property fmtid="{D5CDD505-2E9C-101B-9397-08002B2CF9AE}" pid="21" name="MSIP_Label_6f75f480-7803-4ee9-bb54-84d0635fdbe7_ContentBits">
    <vt:lpwstr>0</vt:lpwstr>
  </property>
  <property fmtid="{D5CDD505-2E9C-101B-9397-08002B2CF9AE}" pid="22" name="Document_Confidentiality">
    <vt:lpwstr>Unrestricted</vt:lpwstr>
  </property>
</Properties>
</file>